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5"/>
  </p:notesMasterIdLst>
  <p:handoutMasterIdLst>
    <p:handoutMasterId r:id="rId26"/>
  </p:handoutMasterIdLst>
  <p:sldIdLst>
    <p:sldId id="256" r:id="rId5"/>
    <p:sldId id="2147375589" r:id="rId6"/>
    <p:sldId id="4848" r:id="rId7"/>
    <p:sldId id="2147375597" r:id="rId8"/>
    <p:sldId id="2147375600" r:id="rId9"/>
    <p:sldId id="2147375615" r:id="rId10"/>
    <p:sldId id="2147375602" r:id="rId11"/>
    <p:sldId id="2147375603" r:id="rId12"/>
    <p:sldId id="2147375604" r:id="rId13"/>
    <p:sldId id="2147375605" r:id="rId14"/>
    <p:sldId id="2147375606" r:id="rId15"/>
    <p:sldId id="2147375607" r:id="rId16"/>
    <p:sldId id="2147375608" r:id="rId17"/>
    <p:sldId id="2147375609" r:id="rId18"/>
    <p:sldId id="2147375610" r:id="rId19"/>
    <p:sldId id="2147375611" r:id="rId20"/>
    <p:sldId id="2147375612" r:id="rId21"/>
    <p:sldId id="2147375613" r:id="rId22"/>
    <p:sldId id="2147375614" r:id="rId23"/>
    <p:sldId id="1633" r:id="rId24"/>
  </p:sldIdLst>
  <p:sldSz cx="12192000" cy="6858000"/>
  <p:notesSz cx="6858000" cy="9144000"/>
  <p:custDataLst>
    <p:tags r:id="rId2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0" userDrawn="1">
          <p15:clr>
            <a:srgbClr val="A4A3A4"/>
          </p15:clr>
        </p15:guide>
        <p15:guide id="3" orient="horz" pos="1296" userDrawn="1">
          <p15:clr>
            <a:srgbClr val="A4A3A4"/>
          </p15:clr>
        </p15:guide>
        <p15:guide id="4" pos="7368" userDrawn="1">
          <p15:clr>
            <a:srgbClr val="A4A3A4"/>
          </p15:clr>
        </p15:guide>
        <p15:guide id="5" orient="horz" pos="2448" userDrawn="1">
          <p15:clr>
            <a:srgbClr val="A4A3A4"/>
          </p15:clr>
        </p15:guide>
        <p15:guide id="6" pos="3792" userDrawn="1">
          <p15:clr>
            <a:srgbClr val="A4A3A4"/>
          </p15:clr>
        </p15:guide>
        <p15:guide id="7" pos="3912" userDrawn="1">
          <p15:clr>
            <a:srgbClr val="A4A3A4"/>
          </p15:clr>
        </p15:guide>
        <p15:guide id="8" pos="336" userDrawn="1">
          <p15:clr>
            <a:srgbClr val="A4A3A4"/>
          </p15:clr>
        </p15:guide>
        <p15:guide id="9" pos="2808" userDrawn="1">
          <p15:clr>
            <a:srgbClr val="A4A3A4"/>
          </p15:clr>
        </p15:guide>
        <p15:guide id="10" pos="25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F80B698-1556-A878-72C9-39F4C38E8BCE}" name="Devayani Choubal" initials="DC" userId="S::devayani.choubal@u-next.com::53ae5dc1-82ed-4152-be5e-64c69001be2f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nak Ron [UNext]" initials="RR[" lastIdx="0" clrIdx="0">
    <p:extLst>
      <p:ext uri="{19B8F6BF-5375-455C-9EA6-DF929625EA0E}">
        <p15:presenceInfo xmlns:p15="http://schemas.microsoft.com/office/powerpoint/2012/main" userId="S-1-5-21-3050109315-2652681210-1900103164-658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33246"/>
    <a:srgbClr val="FF6600"/>
    <a:srgbClr val="595959"/>
    <a:srgbClr val="EDBD95"/>
    <a:srgbClr val="DFC597"/>
    <a:srgbClr val="CDCB99"/>
    <a:srgbClr val="A1A1A1"/>
    <a:srgbClr val="767171"/>
    <a:srgbClr val="323335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6E155E8-D84C-463E-A3B7-5CF65E1FB393}" v="224" dt="2024-08-26T15:17:23.41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3447" autoAdjust="0"/>
  </p:normalViewPr>
  <p:slideViewPr>
    <p:cSldViewPr snapToGrid="0">
      <p:cViewPr varScale="1">
        <p:scale>
          <a:sx n="66" d="100"/>
          <a:sy n="66" d="100"/>
        </p:scale>
        <p:origin x="668" y="32"/>
      </p:cViewPr>
      <p:guideLst>
        <p:guide orient="horz" pos="840"/>
        <p:guide orient="horz" pos="1296"/>
        <p:guide pos="7368"/>
        <p:guide orient="horz" pos="2448"/>
        <p:guide pos="3792"/>
        <p:guide pos="3912"/>
        <p:guide pos="336"/>
        <p:guide pos="2808"/>
        <p:guide pos="259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49" d="100"/>
          <a:sy n="49" d="100"/>
        </p:scale>
        <p:origin x="2910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notesMaster" Target="notesMasters/notesMaster1.xml"/><Relationship Id="rId33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tags" Target="tags/tag1.xml"/><Relationship Id="rId30" Type="http://schemas.openxmlformats.org/officeDocument/2006/relationships/viewProps" Target="viewProps.xml"/><Relationship Id="rId35" Type="http://schemas.microsoft.com/office/2018/10/relationships/authors" Target="authors.xml"/><Relationship Id="rId8" Type="http://schemas.openxmlformats.org/officeDocument/2006/relationships/slide" Target="slides/slide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hushan Madapura [UNext]" userId="2baadad7-7b8e-4632-a62a-dff9a334b569" providerId="ADAL" clId="{8AA35C18-0C06-49EF-AC0C-5255EBFFF153}"/>
    <pc:docChg chg="modSld">
      <pc:chgData name="Bhushan Madapura [UNext]" userId="2baadad7-7b8e-4632-a62a-dff9a334b569" providerId="ADAL" clId="{8AA35C18-0C06-49EF-AC0C-5255EBFFF153}" dt="2024-08-23T04:50:16.802" v="0" actId="14861"/>
      <pc:docMkLst>
        <pc:docMk/>
      </pc:docMkLst>
      <pc:sldChg chg="modSp mod">
        <pc:chgData name="Bhushan Madapura [UNext]" userId="2baadad7-7b8e-4632-a62a-dff9a334b569" providerId="ADAL" clId="{8AA35C18-0C06-49EF-AC0C-5255EBFFF153}" dt="2024-08-23T04:50:16.802" v="0" actId="14861"/>
        <pc:sldMkLst>
          <pc:docMk/>
          <pc:sldMk cId="349082050" sldId="2147375595"/>
        </pc:sldMkLst>
        <pc:picChg chg="mod">
          <ac:chgData name="Bhushan Madapura [UNext]" userId="2baadad7-7b8e-4632-a62a-dff9a334b569" providerId="ADAL" clId="{8AA35C18-0C06-49EF-AC0C-5255EBFFF153}" dt="2024-08-23T04:50:16.802" v="0" actId="14861"/>
          <ac:picMkLst>
            <pc:docMk/>
            <pc:sldMk cId="349082050" sldId="2147375595"/>
            <ac:picMk id="3" creationId="{6138DF7C-3FF2-7FE5-FD04-5EBB2C596F9F}"/>
          </ac:picMkLst>
        </pc:picChg>
      </pc:sldChg>
    </pc:docChg>
  </pc:docChgLst>
  <pc:docChgLst>
    <pc:chgData name="Bhushan Madapura [UNext]" userId="2baadad7-7b8e-4632-a62a-dff9a334b569" providerId="ADAL" clId="{F6E155E8-D84C-463E-A3B7-5CF65E1FB393}"/>
    <pc:docChg chg="undo redo custSel addSld delSld modSld">
      <pc:chgData name="Bhushan Madapura [UNext]" userId="2baadad7-7b8e-4632-a62a-dff9a334b569" providerId="ADAL" clId="{F6E155E8-D84C-463E-A3B7-5CF65E1FB393}" dt="2024-08-26T15:20:53.723" v="1693" actId="20577"/>
      <pc:docMkLst>
        <pc:docMk/>
      </pc:docMkLst>
      <pc:sldChg chg="modSp mod">
        <pc:chgData name="Bhushan Madapura [UNext]" userId="2baadad7-7b8e-4632-a62a-dff9a334b569" providerId="ADAL" clId="{F6E155E8-D84C-463E-A3B7-5CF65E1FB393}" dt="2024-08-26T14:53:21.466" v="9" actId="20577"/>
        <pc:sldMkLst>
          <pc:docMk/>
          <pc:sldMk cId="3267775274" sldId="256"/>
        </pc:sldMkLst>
        <pc:spChg chg="mod">
          <ac:chgData name="Bhushan Madapura [UNext]" userId="2baadad7-7b8e-4632-a62a-dff9a334b569" providerId="ADAL" clId="{F6E155E8-D84C-463E-A3B7-5CF65E1FB393}" dt="2024-08-26T14:52:56.842" v="0"/>
          <ac:spMkLst>
            <pc:docMk/>
            <pc:sldMk cId="3267775274" sldId="256"/>
            <ac:spMk id="6" creationId="{0C37A4A8-A3C7-407F-B123-88E2E165C827}"/>
          </ac:spMkLst>
        </pc:spChg>
        <pc:spChg chg="mod">
          <ac:chgData name="Bhushan Madapura [UNext]" userId="2baadad7-7b8e-4632-a62a-dff9a334b569" providerId="ADAL" clId="{F6E155E8-D84C-463E-A3B7-5CF65E1FB393}" dt="2024-08-26T14:53:10.018" v="7" actId="6549"/>
          <ac:spMkLst>
            <pc:docMk/>
            <pc:sldMk cId="3267775274" sldId="256"/>
            <ac:spMk id="12" creationId="{8A24547F-8A92-CDC5-A578-3733390534F2}"/>
          </ac:spMkLst>
        </pc:spChg>
        <pc:spChg chg="mod">
          <ac:chgData name="Bhushan Madapura [UNext]" userId="2baadad7-7b8e-4632-a62a-dff9a334b569" providerId="ADAL" clId="{F6E155E8-D84C-463E-A3B7-5CF65E1FB393}" dt="2024-08-26T14:53:21.466" v="9" actId="20577"/>
          <ac:spMkLst>
            <pc:docMk/>
            <pc:sldMk cId="3267775274" sldId="256"/>
            <ac:spMk id="13" creationId="{C48F8DD6-A1B3-8126-FAC3-218B712C7FFB}"/>
          </ac:spMkLst>
        </pc:spChg>
      </pc:sldChg>
      <pc:sldChg chg="del">
        <pc:chgData name="Bhushan Madapura [UNext]" userId="2baadad7-7b8e-4632-a62a-dff9a334b569" providerId="ADAL" clId="{F6E155E8-D84C-463E-A3B7-5CF65E1FB393}" dt="2024-08-26T15:18:23.800" v="1579" actId="47"/>
        <pc:sldMkLst>
          <pc:docMk/>
          <pc:sldMk cId="1394078451" sldId="308"/>
        </pc:sldMkLst>
      </pc:sldChg>
      <pc:sldChg chg="del">
        <pc:chgData name="Bhushan Madapura [UNext]" userId="2baadad7-7b8e-4632-a62a-dff9a334b569" providerId="ADAL" clId="{F6E155E8-D84C-463E-A3B7-5CF65E1FB393}" dt="2024-08-26T15:18:34.709" v="1596" actId="47"/>
        <pc:sldMkLst>
          <pc:docMk/>
          <pc:sldMk cId="1725335015" sldId="1645"/>
        </pc:sldMkLst>
      </pc:sldChg>
      <pc:sldChg chg="del">
        <pc:chgData name="Bhushan Madapura [UNext]" userId="2baadad7-7b8e-4632-a62a-dff9a334b569" providerId="ADAL" clId="{F6E155E8-D84C-463E-A3B7-5CF65E1FB393}" dt="2024-08-26T15:18:32.981" v="1594" actId="47"/>
        <pc:sldMkLst>
          <pc:docMk/>
          <pc:sldMk cId="1552476259" sldId="1648"/>
        </pc:sldMkLst>
      </pc:sldChg>
      <pc:sldChg chg="del">
        <pc:chgData name="Bhushan Madapura [UNext]" userId="2baadad7-7b8e-4632-a62a-dff9a334b569" providerId="ADAL" clId="{F6E155E8-D84C-463E-A3B7-5CF65E1FB393}" dt="2024-08-26T15:18:22.848" v="1577" actId="47"/>
        <pc:sldMkLst>
          <pc:docMk/>
          <pc:sldMk cId="3646793929" sldId="1651"/>
        </pc:sldMkLst>
      </pc:sldChg>
      <pc:sldChg chg="del">
        <pc:chgData name="Bhushan Madapura [UNext]" userId="2baadad7-7b8e-4632-a62a-dff9a334b569" providerId="ADAL" clId="{F6E155E8-D84C-463E-A3B7-5CF65E1FB393}" dt="2024-08-26T15:18:32.240" v="1593" actId="47"/>
        <pc:sldMkLst>
          <pc:docMk/>
          <pc:sldMk cId="871558929" sldId="1652"/>
        </pc:sldMkLst>
      </pc:sldChg>
      <pc:sldChg chg="del">
        <pc:chgData name="Bhushan Madapura [UNext]" userId="2baadad7-7b8e-4632-a62a-dff9a334b569" providerId="ADAL" clId="{F6E155E8-D84C-463E-A3B7-5CF65E1FB393}" dt="2024-08-26T15:18:35.420" v="1597" actId="47"/>
        <pc:sldMkLst>
          <pc:docMk/>
          <pc:sldMk cId="2492084971" sldId="1654"/>
        </pc:sldMkLst>
      </pc:sldChg>
      <pc:sldChg chg="del">
        <pc:chgData name="Bhushan Madapura [UNext]" userId="2baadad7-7b8e-4632-a62a-dff9a334b569" providerId="ADAL" clId="{F6E155E8-D84C-463E-A3B7-5CF65E1FB393}" dt="2024-08-26T15:18:36.082" v="1598" actId="47"/>
        <pc:sldMkLst>
          <pc:docMk/>
          <pc:sldMk cId="492688201" sldId="1656"/>
        </pc:sldMkLst>
      </pc:sldChg>
      <pc:sldChg chg="del">
        <pc:chgData name="Bhushan Madapura [UNext]" userId="2baadad7-7b8e-4632-a62a-dff9a334b569" providerId="ADAL" clId="{F6E155E8-D84C-463E-A3B7-5CF65E1FB393}" dt="2024-08-26T15:18:36.717" v="1599" actId="47"/>
        <pc:sldMkLst>
          <pc:docMk/>
          <pc:sldMk cId="251692743" sldId="1657"/>
        </pc:sldMkLst>
      </pc:sldChg>
      <pc:sldChg chg="del">
        <pc:chgData name="Bhushan Madapura [UNext]" userId="2baadad7-7b8e-4632-a62a-dff9a334b569" providerId="ADAL" clId="{F6E155E8-D84C-463E-A3B7-5CF65E1FB393}" dt="2024-08-26T15:18:22.125" v="1574" actId="47"/>
        <pc:sldMkLst>
          <pc:docMk/>
          <pc:sldMk cId="1502717962" sldId="1660"/>
        </pc:sldMkLst>
      </pc:sldChg>
      <pc:sldChg chg="addSp modSp mod">
        <pc:chgData name="Bhushan Madapura [UNext]" userId="2baadad7-7b8e-4632-a62a-dff9a334b569" providerId="ADAL" clId="{F6E155E8-D84C-463E-A3B7-5CF65E1FB393}" dt="2024-08-26T14:55:15.903" v="92" actId="207"/>
        <pc:sldMkLst>
          <pc:docMk/>
          <pc:sldMk cId="942789877" sldId="4848"/>
        </pc:sldMkLst>
        <pc:spChg chg="mod">
          <ac:chgData name="Bhushan Madapura [UNext]" userId="2baadad7-7b8e-4632-a62a-dff9a334b569" providerId="ADAL" clId="{F6E155E8-D84C-463E-A3B7-5CF65E1FB393}" dt="2024-08-26T14:54:53.634" v="90"/>
          <ac:spMkLst>
            <pc:docMk/>
            <pc:sldMk cId="942789877" sldId="4848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4:55:15.903" v="92" actId="207"/>
          <ac:picMkLst>
            <pc:docMk/>
            <pc:sldMk cId="942789877" sldId="4848"/>
            <ac:picMk id="2" creationId="{5ED103A7-D95B-E42C-6356-53269A110E83}"/>
          </ac:picMkLst>
        </pc:picChg>
      </pc:sldChg>
      <pc:sldChg chg="del">
        <pc:chgData name="Bhushan Madapura [UNext]" userId="2baadad7-7b8e-4632-a62a-dff9a334b569" providerId="ADAL" clId="{F6E155E8-D84C-463E-A3B7-5CF65E1FB393}" dt="2024-08-26T15:18:20.088" v="1566" actId="47"/>
        <pc:sldMkLst>
          <pc:docMk/>
          <pc:sldMk cId="1692425821" sldId="4863"/>
        </pc:sldMkLst>
      </pc:sldChg>
      <pc:sldChg chg="del">
        <pc:chgData name="Bhushan Madapura [UNext]" userId="2baadad7-7b8e-4632-a62a-dff9a334b569" providerId="ADAL" clId="{F6E155E8-D84C-463E-A3B7-5CF65E1FB393}" dt="2024-08-26T15:18:21.098" v="1569" actId="47"/>
        <pc:sldMkLst>
          <pc:docMk/>
          <pc:sldMk cId="993584579" sldId="4972"/>
        </pc:sldMkLst>
      </pc:sldChg>
      <pc:sldChg chg="del">
        <pc:chgData name="Bhushan Madapura [UNext]" userId="2baadad7-7b8e-4632-a62a-dff9a334b569" providerId="ADAL" clId="{F6E155E8-D84C-463E-A3B7-5CF65E1FB393}" dt="2024-08-26T15:18:21.492" v="1571" actId="47"/>
        <pc:sldMkLst>
          <pc:docMk/>
          <pc:sldMk cId="754838326" sldId="4973"/>
        </pc:sldMkLst>
      </pc:sldChg>
      <pc:sldChg chg="del">
        <pc:chgData name="Bhushan Madapura [UNext]" userId="2baadad7-7b8e-4632-a62a-dff9a334b569" providerId="ADAL" clId="{F6E155E8-D84C-463E-A3B7-5CF65E1FB393}" dt="2024-08-26T15:18:21.697" v="1572" actId="47"/>
        <pc:sldMkLst>
          <pc:docMk/>
          <pc:sldMk cId="3971984793" sldId="4974"/>
        </pc:sldMkLst>
      </pc:sldChg>
      <pc:sldChg chg="del">
        <pc:chgData name="Bhushan Madapura [UNext]" userId="2baadad7-7b8e-4632-a62a-dff9a334b569" providerId="ADAL" clId="{F6E155E8-D84C-463E-A3B7-5CF65E1FB393}" dt="2024-08-26T15:18:21.903" v="1573" actId="47"/>
        <pc:sldMkLst>
          <pc:docMk/>
          <pc:sldMk cId="891875669" sldId="2147375326"/>
        </pc:sldMkLst>
      </pc:sldChg>
      <pc:sldChg chg="del">
        <pc:chgData name="Bhushan Madapura [UNext]" userId="2baadad7-7b8e-4632-a62a-dff9a334b569" providerId="ADAL" clId="{F6E155E8-D84C-463E-A3B7-5CF65E1FB393}" dt="2024-08-26T15:18:22.328" v="1575" actId="47"/>
        <pc:sldMkLst>
          <pc:docMk/>
          <pc:sldMk cId="2000669452" sldId="2147375394"/>
        </pc:sldMkLst>
      </pc:sldChg>
      <pc:sldChg chg="del">
        <pc:chgData name="Bhushan Madapura [UNext]" userId="2baadad7-7b8e-4632-a62a-dff9a334b569" providerId="ADAL" clId="{F6E155E8-D84C-463E-A3B7-5CF65E1FB393}" dt="2024-08-26T15:18:20.848" v="1568" actId="47"/>
        <pc:sldMkLst>
          <pc:docMk/>
          <pc:sldMk cId="1855469294" sldId="2147375439"/>
        </pc:sldMkLst>
      </pc:sldChg>
      <pc:sldChg chg="del">
        <pc:chgData name="Bhushan Madapura [UNext]" userId="2baadad7-7b8e-4632-a62a-dff9a334b569" providerId="ADAL" clId="{F6E155E8-D84C-463E-A3B7-5CF65E1FB393}" dt="2024-08-26T15:18:20.530" v="1567" actId="47"/>
        <pc:sldMkLst>
          <pc:docMk/>
          <pc:sldMk cId="1748775088" sldId="2147375444"/>
        </pc:sldMkLst>
      </pc:sldChg>
      <pc:sldChg chg="del">
        <pc:chgData name="Bhushan Madapura [UNext]" userId="2baadad7-7b8e-4632-a62a-dff9a334b569" providerId="ADAL" clId="{F6E155E8-D84C-463E-A3B7-5CF65E1FB393}" dt="2024-08-26T15:18:28.566" v="1586" actId="47"/>
        <pc:sldMkLst>
          <pc:docMk/>
          <pc:sldMk cId="2936957564" sldId="2147375476"/>
        </pc:sldMkLst>
      </pc:sldChg>
      <pc:sldChg chg="del">
        <pc:chgData name="Bhushan Madapura [UNext]" userId="2baadad7-7b8e-4632-a62a-dff9a334b569" providerId="ADAL" clId="{F6E155E8-D84C-463E-A3B7-5CF65E1FB393}" dt="2024-08-26T15:18:29.073" v="1587" actId="47"/>
        <pc:sldMkLst>
          <pc:docMk/>
          <pc:sldMk cId="2271413475" sldId="2147375477"/>
        </pc:sldMkLst>
      </pc:sldChg>
      <pc:sldChg chg="del">
        <pc:chgData name="Bhushan Madapura [UNext]" userId="2baadad7-7b8e-4632-a62a-dff9a334b569" providerId="ADAL" clId="{F6E155E8-D84C-463E-A3B7-5CF65E1FB393}" dt="2024-08-26T15:18:27.853" v="1585" actId="47"/>
        <pc:sldMkLst>
          <pc:docMk/>
          <pc:sldMk cId="1948523315" sldId="2147375478"/>
        </pc:sldMkLst>
      </pc:sldChg>
      <pc:sldChg chg="del">
        <pc:chgData name="Bhushan Madapura [UNext]" userId="2baadad7-7b8e-4632-a62a-dff9a334b569" providerId="ADAL" clId="{F6E155E8-D84C-463E-A3B7-5CF65E1FB393}" dt="2024-08-26T15:18:29.481" v="1588" actId="47"/>
        <pc:sldMkLst>
          <pc:docMk/>
          <pc:sldMk cId="1431467204" sldId="2147375479"/>
        </pc:sldMkLst>
      </pc:sldChg>
      <pc:sldChg chg="del">
        <pc:chgData name="Bhushan Madapura [UNext]" userId="2baadad7-7b8e-4632-a62a-dff9a334b569" providerId="ADAL" clId="{F6E155E8-D84C-463E-A3B7-5CF65E1FB393}" dt="2024-08-26T15:18:30.589" v="1590" actId="47"/>
        <pc:sldMkLst>
          <pc:docMk/>
          <pc:sldMk cId="3318051497" sldId="2147375481"/>
        </pc:sldMkLst>
      </pc:sldChg>
      <pc:sldChg chg="del">
        <pc:chgData name="Bhushan Madapura [UNext]" userId="2baadad7-7b8e-4632-a62a-dff9a334b569" providerId="ADAL" clId="{F6E155E8-D84C-463E-A3B7-5CF65E1FB393}" dt="2024-08-26T15:18:21.272" v="1570" actId="47"/>
        <pc:sldMkLst>
          <pc:docMk/>
          <pc:sldMk cId="3547742170" sldId="2147375581"/>
        </pc:sldMkLst>
      </pc:sldChg>
      <pc:sldChg chg="del">
        <pc:chgData name="Bhushan Madapura [UNext]" userId="2baadad7-7b8e-4632-a62a-dff9a334b569" providerId="ADAL" clId="{F6E155E8-D84C-463E-A3B7-5CF65E1FB393}" dt="2024-08-26T15:18:23.497" v="1578" actId="47"/>
        <pc:sldMkLst>
          <pc:docMk/>
          <pc:sldMk cId="1740909126" sldId="2147375582"/>
        </pc:sldMkLst>
      </pc:sldChg>
      <pc:sldChg chg="del">
        <pc:chgData name="Bhushan Madapura [UNext]" userId="2baadad7-7b8e-4632-a62a-dff9a334b569" providerId="ADAL" clId="{F6E155E8-D84C-463E-A3B7-5CF65E1FB393}" dt="2024-08-26T15:18:22.596" v="1576" actId="47"/>
        <pc:sldMkLst>
          <pc:docMk/>
          <pc:sldMk cId="3598530651" sldId="2147375584"/>
        </pc:sldMkLst>
      </pc:sldChg>
      <pc:sldChg chg="del">
        <pc:chgData name="Bhushan Madapura [UNext]" userId="2baadad7-7b8e-4632-a62a-dff9a334b569" providerId="ADAL" clId="{F6E155E8-D84C-463E-A3B7-5CF65E1FB393}" dt="2024-08-26T15:18:26.947" v="1584" actId="47"/>
        <pc:sldMkLst>
          <pc:docMk/>
          <pc:sldMk cId="2188182216" sldId="2147375585"/>
        </pc:sldMkLst>
      </pc:sldChg>
      <pc:sldChg chg="del">
        <pc:chgData name="Bhushan Madapura [UNext]" userId="2baadad7-7b8e-4632-a62a-dff9a334b569" providerId="ADAL" clId="{F6E155E8-D84C-463E-A3B7-5CF65E1FB393}" dt="2024-08-26T15:18:31.172" v="1591" actId="47"/>
        <pc:sldMkLst>
          <pc:docMk/>
          <pc:sldMk cId="36437265" sldId="2147375586"/>
        </pc:sldMkLst>
      </pc:sldChg>
      <pc:sldChg chg="del">
        <pc:chgData name="Bhushan Madapura [UNext]" userId="2baadad7-7b8e-4632-a62a-dff9a334b569" providerId="ADAL" clId="{F6E155E8-D84C-463E-A3B7-5CF65E1FB393}" dt="2024-08-26T15:18:31.709" v="1592" actId="47"/>
        <pc:sldMkLst>
          <pc:docMk/>
          <pc:sldMk cId="1206403439" sldId="2147375588"/>
        </pc:sldMkLst>
      </pc:sldChg>
      <pc:sldChg chg="addSp delSp modSp mod">
        <pc:chgData name="Bhushan Madapura [UNext]" userId="2baadad7-7b8e-4632-a62a-dff9a334b569" providerId="ADAL" clId="{F6E155E8-D84C-463E-A3B7-5CF65E1FB393}" dt="2024-08-26T14:54:33.743" v="89" actId="1076"/>
        <pc:sldMkLst>
          <pc:docMk/>
          <pc:sldMk cId="867832184" sldId="2147375589"/>
        </pc:sldMkLst>
        <pc:spChg chg="del">
          <ac:chgData name="Bhushan Madapura [UNext]" userId="2baadad7-7b8e-4632-a62a-dff9a334b569" providerId="ADAL" clId="{F6E155E8-D84C-463E-A3B7-5CF65E1FB393}" dt="2024-08-26T14:53:59.980" v="83" actId="478"/>
          <ac:spMkLst>
            <pc:docMk/>
            <pc:sldMk cId="867832184" sldId="2147375589"/>
            <ac:spMk id="2" creationId="{3E5D74AE-156F-5417-16F3-ADC1D4A285C2}"/>
          </ac:spMkLst>
        </pc:spChg>
        <pc:spChg chg="mod">
          <ac:chgData name="Bhushan Madapura [UNext]" userId="2baadad7-7b8e-4632-a62a-dff9a334b569" providerId="ADAL" clId="{F6E155E8-D84C-463E-A3B7-5CF65E1FB393}" dt="2024-08-26T14:53:53.243" v="58" actId="948"/>
          <ac:spMkLst>
            <pc:docMk/>
            <pc:sldMk cId="867832184" sldId="2147375589"/>
            <ac:spMk id="3" creationId="{56243872-C66F-EDEB-B185-CE420E5D6837}"/>
          </ac:spMkLst>
        </pc:spChg>
        <pc:spChg chg="add del mod modVis">
          <ac:chgData name="Bhushan Madapura [UNext]" userId="2baadad7-7b8e-4632-a62a-dff9a334b569" providerId="ADAL" clId="{F6E155E8-D84C-463E-A3B7-5CF65E1FB393}" dt="2024-08-26T14:53:52.185" v="53"/>
          <ac:spMkLst>
            <pc:docMk/>
            <pc:sldMk cId="867832184" sldId="2147375589"/>
            <ac:spMk id="6" creationId="{E985ACA9-BD27-57E4-972F-2E18A2EAA089}"/>
          </ac:spMkLst>
        </pc:spChg>
        <pc:spChg chg="add del mod modVis">
          <ac:chgData name="Bhushan Madapura [UNext]" userId="2baadad7-7b8e-4632-a62a-dff9a334b569" providerId="ADAL" clId="{F6E155E8-D84C-463E-A3B7-5CF65E1FB393}" dt="2024-08-26T14:53:53.278" v="80"/>
          <ac:spMkLst>
            <pc:docMk/>
            <pc:sldMk cId="867832184" sldId="2147375589"/>
            <ac:spMk id="7" creationId="{3C6E01C3-7758-FFDE-AC83-69EC3A31E361}"/>
          </ac:spMkLst>
        </pc:spChg>
        <pc:spChg chg="add del mod">
          <ac:chgData name="Bhushan Madapura [UNext]" userId="2baadad7-7b8e-4632-a62a-dff9a334b569" providerId="ADAL" clId="{F6E155E8-D84C-463E-A3B7-5CF65E1FB393}" dt="2024-08-26T14:54:05.085" v="84" actId="478"/>
          <ac:spMkLst>
            <pc:docMk/>
            <pc:sldMk cId="867832184" sldId="2147375589"/>
            <ac:spMk id="9" creationId="{8B5DACBC-BCE7-F0F1-2093-E55AE93DB8C5}"/>
          </ac:spMkLst>
        </pc:spChg>
        <pc:spChg chg="add mod">
          <ac:chgData name="Bhushan Madapura [UNext]" userId="2baadad7-7b8e-4632-a62a-dff9a334b569" providerId="ADAL" clId="{F6E155E8-D84C-463E-A3B7-5CF65E1FB393}" dt="2024-08-26T14:54:33.743" v="89" actId="1076"/>
          <ac:spMkLst>
            <pc:docMk/>
            <pc:sldMk cId="867832184" sldId="2147375589"/>
            <ac:spMk id="10" creationId="{1119CB9E-042F-11E8-F683-654626D307B3}"/>
          </ac:spMkLst>
        </pc:spChg>
        <pc:spChg chg="add mod">
          <ac:chgData name="Bhushan Madapura [UNext]" userId="2baadad7-7b8e-4632-a62a-dff9a334b569" providerId="ADAL" clId="{F6E155E8-D84C-463E-A3B7-5CF65E1FB393}" dt="2024-08-26T14:54:33.743" v="89" actId="1076"/>
          <ac:spMkLst>
            <pc:docMk/>
            <pc:sldMk cId="867832184" sldId="2147375589"/>
            <ac:spMk id="11" creationId="{CE0DDF5F-FE47-F9A2-FE84-53B63DFF494D}"/>
          </ac:spMkLst>
        </pc:spChg>
        <pc:graphicFrameChg chg="add mod ord modVis">
          <ac:chgData name="Bhushan Madapura [UNext]" userId="2baadad7-7b8e-4632-a62a-dff9a334b569" providerId="ADAL" clId="{F6E155E8-D84C-463E-A3B7-5CF65E1FB393}" dt="2024-08-26T14:53:53.284" v="82"/>
          <ac:graphicFrameMkLst>
            <pc:docMk/>
            <pc:sldMk cId="867832184" sldId="2147375589"/>
            <ac:graphicFrameMk id="5" creationId="{595DA231-959C-B3E0-7DA4-876736A38BC8}"/>
          </ac:graphicFrameMkLst>
        </pc:graphicFrameChg>
      </pc:sldChg>
      <pc:sldChg chg="del">
        <pc:chgData name="Bhushan Madapura [UNext]" userId="2baadad7-7b8e-4632-a62a-dff9a334b569" providerId="ADAL" clId="{F6E155E8-D84C-463E-A3B7-5CF65E1FB393}" dt="2024-08-26T15:18:33.888" v="1595" actId="47"/>
        <pc:sldMkLst>
          <pc:docMk/>
          <pc:sldMk cId="4063798852" sldId="2147375590"/>
        </pc:sldMkLst>
      </pc:sldChg>
      <pc:sldChg chg="del">
        <pc:chgData name="Bhushan Madapura [UNext]" userId="2baadad7-7b8e-4632-a62a-dff9a334b569" providerId="ADAL" clId="{F6E155E8-D84C-463E-A3B7-5CF65E1FB393}" dt="2024-08-26T15:18:30.019" v="1589" actId="47"/>
        <pc:sldMkLst>
          <pc:docMk/>
          <pc:sldMk cId="2056421860" sldId="2147375591"/>
        </pc:sldMkLst>
      </pc:sldChg>
      <pc:sldChg chg="del">
        <pc:chgData name="Bhushan Madapura [UNext]" userId="2baadad7-7b8e-4632-a62a-dff9a334b569" providerId="ADAL" clId="{F6E155E8-D84C-463E-A3B7-5CF65E1FB393}" dt="2024-08-26T15:18:24.722" v="1580" actId="47"/>
        <pc:sldMkLst>
          <pc:docMk/>
          <pc:sldMk cId="31081095" sldId="2147375592"/>
        </pc:sldMkLst>
      </pc:sldChg>
      <pc:sldChg chg="del">
        <pc:chgData name="Bhushan Madapura [UNext]" userId="2baadad7-7b8e-4632-a62a-dff9a334b569" providerId="ADAL" clId="{F6E155E8-D84C-463E-A3B7-5CF65E1FB393}" dt="2024-08-26T15:18:26.308" v="1583" actId="47"/>
        <pc:sldMkLst>
          <pc:docMk/>
          <pc:sldMk cId="1667871994" sldId="2147375593"/>
        </pc:sldMkLst>
      </pc:sldChg>
      <pc:sldChg chg="del">
        <pc:chgData name="Bhushan Madapura [UNext]" userId="2baadad7-7b8e-4632-a62a-dff9a334b569" providerId="ADAL" clId="{F6E155E8-D84C-463E-A3B7-5CF65E1FB393}" dt="2024-08-26T15:18:25.752" v="1582" actId="47"/>
        <pc:sldMkLst>
          <pc:docMk/>
          <pc:sldMk cId="3735680803" sldId="2147375594"/>
        </pc:sldMkLst>
      </pc:sldChg>
      <pc:sldChg chg="del">
        <pc:chgData name="Bhushan Madapura [UNext]" userId="2baadad7-7b8e-4632-a62a-dff9a334b569" providerId="ADAL" clId="{F6E155E8-D84C-463E-A3B7-5CF65E1FB393}" dt="2024-08-26T15:18:25.232" v="1581" actId="47"/>
        <pc:sldMkLst>
          <pc:docMk/>
          <pc:sldMk cId="349082050" sldId="2147375595"/>
        </pc:sldMkLst>
      </pc:sldChg>
      <pc:sldChg chg="addSp delSp modSp add del mod modAnim">
        <pc:chgData name="Bhushan Madapura [UNext]" userId="2baadad7-7b8e-4632-a62a-dff9a334b569" providerId="ADAL" clId="{F6E155E8-D84C-463E-A3B7-5CF65E1FB393}" dt="2024-08-26T15:00:51.500" v="369" actId="47"/>
        <pc:sldMkLst>
          <pc:docMk/>
          <pc:sldMk cId="377409641" sldId="2147375596"/>
        </pc:sldMkLst>
        <pc:spChg chg="mod">
          <ac:chgData name="Bhushan Madapura [UNext]" userId="2baadad7-7b8e-4632-a62a-dff9a334b569" providerId="ADAL" clId="{F6E155E8-D84C-463E-A3B7-5CF65E1FB393}" dt="2024-08-26T14:56:07.854" v="95"/>
          <ac:spMkLst>
            <pc:docMk/>
            <pc:sldMk cId="377409641" sldId="2147375596"/>
            <ac:spMk id="5" creationId="{D4A1C201-A8E3-A5B8-392B-6A156C551447}"/>
          </ac:spMkLst>
        </pc:spChg>
        <pc:spChg chg="del">
          <ac:chgData name="Bhushan Madapura [UNext]" userId="2baadad7-7b8e-4632-a62a-dff9a334b569" providerId="ADAL" clId="{F6E155E8-D84C-463E-A3B7-5CF65E1FB393}" dt="2024-08-26T14:55:53.779" v="94" actId="478"/>
          <ac:spMkLst>
            <pc:docMk/>
            <pc:sldMk cId="377409641" sldId="2147375596"/>
            <ac:spMk id="6" creationId="{EBF80831-5721-AB0F-97D6-1B5D662DB65C}"/>
          </ac:spMkLst>
        </pc:spChg>
        <pc:spChg chg="del">
          <ac:chgData name="Bhushan Madapura [UNext]" userId="2baadad7-7b8e-4632-a62a-dff9a334b569" providerId="ADAL" clId="{F6E155E8-D84C-463E-A3B7-5CF65E1FB393}" dt="2024-08-26T14:55:53.779" v="94" actId="478"/>
          <ac:spMkLst>
            <pc:docMk/>
            <pc:sldMk cId="377409641" sldId="2147375596"/>
            <ac:spMk id="7" creationId="{2F827B21-D247-0A53-0978-F895C5B8B98B}"/>
          </ac:spMkLst>
        </pc:spChg>
        <pc:picChg chg="add mod">
          <ac:chgData name="Bhushan Madapura [UNext]" userId="2baadad7-7b8e-4632-a62a-dff9a334b569" providerId="ADAL" clId="{F6E155E8-D84C-463E-A3B7-5CF65E1FB393}" dt="2024-08-26T14:56:21.672" v="97" actId="1076"/>
          <ac:picMkLst>
            <pc:docMk/>
            <pc:sldMk cId="377409641" sldId="2147375596"/>
            <ac:picMk id="2" creationId="{64EBC073-3E12-284A-A285-A40D9C9193C2}"/>
          </ac:picMkLst>
        </pc:picChg>
        <pc:picChg chg="del">
          <ac:chgData name="Bhushan Madapura [UNext]" userId="2baadad7-7b8e-4632-a62a-dff9a334b569" providerId="ADAL" clId="{F6E155E8-D84C-463E-A3B7-5CF65E1FB393}" dt="2024-08-26T14:55:53.779" v="94" actId="478"/>
          <ac:picMkLst>
            <pc:docMk/>
            <pc:sldMk cId="377409641" sldId="2147375596"/>
            <ac:picMk id="8" creationId="{E9EA5ED9-AC2E-F020-F31E-3C9592C3C17E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04:49.677" v="755" actId="242"/>
        <pc:sldMkLst>
          <pc:docMk/>
          <pc:sldMk cId="245881457" sldId="2147375597"/>
        </pc:sldMkLst>
        <pc:spChg chg="del">
          <ac:chgData name="Bhushan Madapura [UNext]" userId="2baadad7-7b8e-4632-a62a-dff9a334b569" providerId="ADAL" clId="{F6E155E8-D84C-463E-A3B7-5CF65E1FB393}" dt="2024-08-26T14:57:09.583" v="164" actId="478"/>
          <ac:spMkLst>
            <pc:docMk/>
            <pc:sldMk cId="245881457" sldId="2147375597"/>
            <ac:spMk id="2" creationId="{281FEA35-05E0-4EE2-9F35-79483FAB9621}"/>
          </ac:spMkLst>
        </pc:spChg>
        <pc:spChg chg="mod ord">
          <ac:chgData name="Bhushan Madapura [UNext]" userId="2baadad7-7b8e-4632-a62a-dff9a334b569" providerId="ADAL" clId="{F6E155E8-D84C-463E-A3B7-5CF65E1FB393}" dt="2024-08-26T15:02:40.450" v="555" actId="948"/>
          <ac:spMkLst>
            <pc:docMk/>
            <pc:sldMk cId="245881457" sldId="2147375597"/>
            <ac:spMk id="3" creationId="{CEA128C4-A0BC-A895-713C-306E7FF62894}"/>
          </ac:spMkLst>
        </pc:spChg>
        <pc:spChg chg="mod ord">
          <ac:chgData name="Bhushan Madapura [UNext]" userId="2baadad7-7b8e-4632-a62a-dff9a334b569" providerId="ADAL" clId="{F6E155E8-D84C-463E-A3B7-5CF65E1FB393}" dt="2024-08-26T14:57:41.351" v="173"/>
          <ac:spMkLst>
            <pc:docMk/>
            <pc:sldMk cId="245881457" sldId="2147375597"/>
            <ac:spMk id="4" creationId="{82193751-E94F-32C7-DCCA-7D3244D279EA}"/>
          </ac:spMkLst>
        </pc:spChg>
        <pc:spChg chg="add del mod modVis">
          <ac:chgData name="Bhushan Madapura [UNext]" userId="2baadad7-7b8e-4632-a62a-dff9a334b569" providerId="ADAL" clId="{F6E155E8-D84C-463E-A3B7-5CF65E1FB393}" dt="2024-08-26T14:56:57.480" v="122"/>
          <ac:spMkLst>
            <pc:docMk/>
            <pc:sldMk cId="245881457" sldId="2147375597"/>
            <ac:spMk id="5" creationId="{BFA05CA9-3863-9DF9-86D5-9FA64B2F43E1}"/>
          </ac:spMkLst>
        </pc:spChg>
        <pc:spChg chg="add del mod modVis">
          <ac:chgData name="Bhushan Madapura [UNext]" userId="2baadad7-7b8e-4632-a62a-dff9a334b569" providerId="ADAL" clId="{F6E155E8-D84C-463E-A3B7-5CF65E1FB393}" dt="2024-08-26T14:57:01.687" v="160"/>
          <ac:spMkLst>
            <pc:docMk/>
            <pc:sldMk cId="245881457" sldId="2147375597"/>
            <ac:spMk id="8" creationId="{6869AB80-C0C8-CE8B-7A15-3CF3B0FE9327}"/>
          </ac:spMkLst>
        </pc:spChg>
        <pc:spChg chg="add mod ord">
          <ac:chgData name="Bhushan Madapura [UNext]" userId="2baadad7-7b8e-4632-a62a-dff9a334b569" providerId="ADAL" clId="{F6E155E8-D84C-463E-A3B7-5CF65E1FB393}" dt="2024-08-26T14:59:13.062" v="228" actId="207"/>
          <ac:spMkLst>
            <pc:docMk/>
            <pc:sldMk cId="245881457" sldId="2147375597"/>
            <ac:spMk id="10" creationId="{8686D658-9330-BA20-4BC9-1E47EEC5B53D}"/>
          </ac:spMkLst>
        </pc:spChg>
        <pc:spChg chg="add mod">
          <ac:chgData name="Bhushan Madapura [UNext]" userId="2baadad7-7b8e-4632-a62a-dff9a334b569" providerId="ADAL" clId="{F6E155E8-D84C-463E-A3B7-5CF65E1FB393}" dt="2024-08-26T15:00:22.003" v="312" actId="207"/>
          <ac:spMkLst>
            <pc:docMk/>
            <pc:sldMk cId="245881457" sldId="2147375597"/>
            <ac:spMk id="11" creationId="{DE9F1BE0-7910-FA1B-DCE8-56EFD1E4FC09}"/>
          </ac:spMkLst>
        </pc:spChg>
        <pc:spChg chg="add mod">
          <ac:chgData name="Bhushan Madapura [UNext]" userId="2baadad7-7b8e-4632-a62a-dff9a334b569" providerId="ADAL" clId="{F6E155E8-D84C-463E-A3B7-5CF65E1FB393}" dt="2024-08-26T15:04:49.677" v="755" actId="242"/>
          <ac:spMkLst>
            <pc:docMk/>
            <pc:sldMk cId="245881457" sldId="2147375597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02:28.736" v="438"/>
          <ac:spMkLst>
            <pc:docMk/>
            <pc:sldMk cId="245881457" sldId="2147375597"/>
            <ac:spMk id="13" creationId="{108F085C-3D35-E73E-BB1D-5A59DDF07807}"/>
          </ac:spMkLst>
        </pc:spChg>
        <pc:spChg chg="add del mod modVis">
          <ac:chgData name="Bhushan Madapura [UNext]" userId="2baadad7-7b8e-4632-a62a-dff9a334b569" providerId="ADAL" clId="{F6E155E8-D84C-463E-A3B7-5CF65E1FB393}" dt="2024-08-26T15:02:29.493" v="465"/>
          <ac:spMkLst>
            <pc:docMk/>
            <pc:sldMk cId="245881457" sldId="2147375597"/>
            <ac:spMk id="14" creationId="{FD077639-FA46-B2EB-4224-E6711B57240F}"/>
          </ac:spMkLst>
        </pc:spChg>
        <pc:spChg chg="add del mod modVis">
          <ac:chgData name="Bhushan Madapura [UNext]" userId="2baadad7-7b8e-4632-a62a-dff9a334b569" providerId="ADAL" clId="{F6E155E8-D84C-463E-A3B7-5CF65E1FB393}" dt="2024-08-26T15:02:30.865" v="493"/>
          <ac:spMkLst>
            <pc:docMk/>
            <pc:sldMk cId="245881457" sldId="2147375597"/>
            <ac:spMk id="15" creationId="{1E16E48F-964E-237C-2272-F1C5C3BD6DFB}"/>
          </ac:spMkLst>
        </pc:spChg>
        <pc:spChg chg="add del mod modVis">
          <ac:chgData name="Bhushan Madapura [UNext]" userId="2baadad7-7b8e-4632-a62a-dff9a334b569" providerId="ADAL" clId="{F6E155E8-D84C-463E-A3B7-5CF65E1FB393}" dt="2024-08-26T15:02:34.699" v="519"/>
          <ac:spMkLst>
            <pc:docMk/>
            <pc:sldMk cId="245881457" sldId="2147375597"/>
            <ac:spMk id="16" creationId="{2FB7EE4D-113A-28A8-38DA-B72C82A313B5}"/>
          </ac:spMkLst>
        </pc:spChg>
        <pc:spChg chg="add del mod modVis">
          <ac:chgData name="Bhushan Madapura [UNext]" userId="2baadad7-7b8e-4632-a62a-dff9a334b569" providerId="ADAL" clId="{F6E155E8-D84C-463E-A3B7-5CF65E1FB393}" dt="2024-08-26T15:02:39.441" v="548"/>
          <ac:spMkLst>
            <pc:docMk/>
            <pc:sldMk cId="245881457" sldId="2147375597"/>
            <ac:spMk id="17" creationId="{0D6A966C-30F1-101C-3E41-2B3BFDA2ADCE}"/>
          </ac:spMkLst>
        </pc:spChg>
        <pc:spChg chg="add del mod modVis">
          <ac:chgData name="Bhushan Madapura [UNext]" userId="2baadad7-7b8e-4632-a62a-dff9a334b569" providerId="ADAL" clId="{F6E155E8-D84C-463E-A3B7-5CF65E1FB393}" dt="2024-08-26T15:02:40.497" v="577"/>
          <ac:spMkLst>
            <pc:docMk/>
            <pc:sldMk cId="245881457" sldId="2147375597"/>
            <ac:spMk id="18" creationId="{83AE35D6-0BB2-4EAD-2978-28F7845B3D70}"/>
          </ac:spMkLst>
        </pc:spChg>
        <pc:graphicFrameChg chg="del">
          <ac:chgData name="Bhushan Madapura [UNext]" userId="2baadad7-7b8e-4632-a62a-dff9a334b569" providerId="ADAL" clId="{F6E155E8-D84C-463E-A3B7-5CF65E1FB393}" dt="2024-08-26T14:57:06.666" v="163" actId="478"/>
          <ac:graphicFrameMkLst>
            <pc:docMk/>
            <pc:sldMk cId="245881457" sldId="2147375597"/>
            <ac:graphicFrameMk id="6" creationId="{61C7CEDF-EBED-4F42-BCC0-1ACD4B4F27B8}"/>
          </ac:graphicFrameMkLst>
        </pc:graphicFrameChg>
        <pc:graphicFrameChg chg="add mod ord modVis">
          <ac:chgData name="Bhushan Madapura [UNext]" userId="2baadad7-7b8e-4632-a62a-dff9a334b569" providerId="ADAL" clId="{F6E155E8-D84C-463E-A3B7-5CF65E1FB393}" dt="2024-08-26T15:02:40.497" v="579"/>
          <ac:graphicFrameMkLst>
            <pc:docMk/>
            <pc:sldMk cId="245881457" sldId="2147375597"/>
            <ac:graphicFrameMk id="7" creationId="{3583FF9E-539E-FE29-E73B-3EF7E093601C}"/>
          </ac:graphicFrameMkLst>
        </pc:graphicFrameChg>
        <pc:picChg chg="add mod ord">
          <ac:chgData name="Bhushan Madapura [UNext]" userId="2baadad7-7b8e-4632-a62a-dff9a334b569" providerId="ADAL" clId="{F6E155E8-D84C-463E-A3B7-5CF65E1FB393}" dt="2024-08-26T14:59:21.608" v="229" actId="207"/>
          <ac:picMkLst>
            <pc:docMk/>
            <pc:sldMk cId="245881457" sldId="2147375597"/>
            <ac:picMk id="9" creationId="{8701F636-0E69-F494-2D36-9D9665F8A8DA}"/>
          </ac:picMkLst>
        </pc:picChg>
      </pc:sldChg>
      <pc:sldChg chg="addSp delSp modSp add del mod">
        <pc:chgData name="Bhushan Madapura [UNext]" userId="2baadad7-7b8e-4632-a62a-dff9a334b569" providerId="ADAL" clId="{F6E155E8-D84C-463E-A3B7-5CF65E1FB393}" dt="2024-08-26T15:00:38.337" v="315" actId="47"/>
        <pc:sldMkLst>
          <pc:docMk/>
          <pc:sldMk cId="2841683286" sldId="2147375598"/>
        </pc:sldMkLst>
        <pc:spChg chg="add del mod modVis">
          <ac:chgData name="Bhushan Madapura [UNext]" userId="2baadad7-7b8e-4632-a62a-dff9a334b569" providerId="ADAL" clId="{F6E155E8-D84C-463E-A3B7-5CF65E1FB393}" dt="2024-08-26T14:59:48.700" v="281"/>
          <ac:spMkLst>
            <pc:docMk/>
            <pc:sldMk cId="2841683286" sldId="2147375598"/>
            <ac:spMk id="2" creationId="{5351B170-2FDB-76F6-EC13-2B5E290212D0}"/>
          </ac:spMkLst>
        </pc:spChg>
        <pc:spChg chg="mod">
          <ac:chgData name="Bhushan Madapura [UNext]" userId="2baadad7-7b8e-4632-a62a-dff9a334b569" providerId="ADAL" clId="{F6E155E8-D84C-463E-A3B7-5CF65E1FB393}" dt="2024-08-26T14:59:48.669" v="259" actId="948"/>
          <ac:spMkLst>
            <pc:docMk/>
            <pc:sldMk cId="2841683286" sldId="2147375598"/>
            <ac:spMk id="3" creationId="{CEA128C4-A0BC-A895-713C-306E7FF62894}"/>
          </ac:spMkLst>
        </pc:spChg>
        <pc:graphicFrameChg chg="mod">
          <ac:chgData name="Bhushan Madapura [UNext]" userId="2baadad7-7b8e-4632-a62a-dff9a334b569" providerId="ADAL" clId="{F6E155E8-D84C-463E-A3B7-5CF65E1FB393}" dt="2024-08-26T14:59:48.700" v="283"/>
          <ac:graphicFrameMkLst>
            <pc:docMk/>
            <pc:sldMk cId="2841683286" sldId="2147375598"/>
            <ac:graphicFrameMk id="7" creationId="{3583FF9E-539E-FE29-E73B-3EF7E093601C}"/>
          </ac:graphicFrameMkLst>
        </pc:graphicFrameChg>
      </pc:sldChg>
      <pc:sldChg chg="addSp delSp modSp add del mod">
        <pc:chgData name="Bhushan Madapura [UNext]" userId="2baadad7-7b8e-4632-a62a-dff9a334b569" providerId="ADAL" clId="{F6E155E8-D84C-463E-A3B7-5CF65E1FB393}" dt="2024-08-26T15:00:38.715" v="316" actId="47"/>
        <pc:sldMkLst>
          <pc:docMk/>
          <pc:sldMk cId="2655284758" sldId="2147375599"/>
        </pc:sldMkLst>
        <pc:spChg chg="add del mod modVis">
          <ac:chgData name="Bhushan Madapura [UNext]" userId="2baadad7-7b8e-4632-a62a-dff9a334b569" providerId="ADAL" clId="{F6E155E8-D84C-463E-A3B7-5CF65E1FB393}" dt="2024-08-26T14:59:39.533" v="255"/>
          <ac:spMkLst>
            <pc:docMk/>
            <pc:sldMk cId="2655284758" sldId="2147375599"/>
            <ac:spMk id="2" creationId="{B9FC5A99-B3B3-B65E-6875-1F4E2471F1DC}"/>
          </ac:spMkLst>
        </pc:spChg>
        <pc:spChg chg="mod">
          <ac:chgData name="Bhushan Madapura [UNext]" userId="2baadad7-7b8e-4632-a62a-dff9a334b569" providerId="ADAL" clId="{F6E155E8-D84C-463E-A3B7-5CF65E1FB393}" dt="2024-08-26T14:59:53.411" v="285" actId="948"/>
          <ac:spMkLst>
            <pc:docMk/>
            <pc:sldMk cId="2655284758" sldId="2147375599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4:59:53.454" v="307"/>
          <ac:spMkLst>
            <pc:docMk/>
            <pc:sldMk cId="2655284758" sldId="2147375599"/>
            <ac:spMk id="5" creationId="{70012F85-044A-B78F-237F-09F00322BA51}"/>
          </ac:spMkLst>
        </pc:spChg>
        <pc:graphicFrameChg chg="mod">
          <ac:chgData name="Bhushan Madapura [UNext]" userId="2baadad7-7b8e-4632-a62a-dff9a334b569" providerId="ADAL" clId="{F6E155E8-D84C-463E-A3B7-5CF65E1FB393}" dt="2024-08-26T14:59:53.458" v="309"/>
          <ac:graphicFrameMkLst>
            <pc:docMk/>
            <pc:sldMk cId="2655284758" sldId="2147375599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4:44.854" v="754" actId="242"/>
        <pc:sldMkLst>
          <pc:docMk/>
          <pc:sldMk cId="1181112711" sldId="2147375600"/>
        </pc:sldMkLst>
        <pc:spChg chg="add del mod modVis">
          <ac:chgData name="Bhushan Madapura [UNext]" userId="2baadad7-7b8e-4632-a62a-dff9a334b569" providerId="ADAL" clId="{F6E155E8-D84C-463E-A3B7-5CF65E1FB393}" dt="2024-08-26T15:00:44.766" v="340"/>
          <ac:spMkLst>
            <pc:docMk/>
            <pc:sldMk cId="1181112711" sldId="2147375600"/>
            <ac:spMk id="2" creationId="{E80CD124-F595-E52F-1432-FF914FFD2B28}"/>
          </ac:spMkLst>
        </pc:spChg>
        <pc:spChg chg="mod">
          <ac:chgData name="Bhushan Madapura [UNext]" userId="2baadad7-7b8e-4632-a62a-dff9a334b569" providerId="ADAL" clId="{F6E155E8-D84C-463E-A3B7-5CF65E1FB393}" dt="2024-08-26T15:02:57.010" v="638" actId="948"/>
          <ac:spMkLst>
            <pc:docMk/>
            <pc:sldMk cId="1181112711" sldId="2147375600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2:51.743" v="631" actId="962"/>
          <ac:spMkLst>
            <pc:docMk/>
            <pc:sldMk cId="1181112711" sldId="2147375600"/>
            <ac:spMk id="5" creationId="{704C1F05-802D-23A5-C441-9788425E4ABD}"/>
          </ac:spMkLst>
        </pc:spChg>
        <pc:spChg chg="add del mod modVis">
          <ac:chgData name="Bhushan Madapura [UNext]" userId="2baadad7-7b8e-4632-a62a-dff9a334b569" providerId="ADAL" clId="{F6E155E8-D84C-463E-A3B7-5CF65E1FB393}" dt="2024-08-26T15:02:57.034" v="660"/>
          <ac:spMkLst>
            <pc:docMk/>
            <pc:sldMk cId="1181112711" sldId="2147375600"/>
            <ac:spMk id="6" creationId="{E406E18F-9F32-8E50-0C82-8EF357241043}"/>
          </ac:spMkLst>
        </pc:spChg>
        <pc:spChg chg="mod">
          <ac:chgData name="Bhushan Madapura [UNext]" userId="2baadad7-7b8e-4632-a62a-dff9a334b569" providerId="ADAL" clId="{F6E155E8-D84C-463E-A3B7-5CF65E1FB393}" dt="2024-08-26T15:04:44.854" v="754" actId="242"/>
          <ac:spMkLst>
            <pc:docMk/>
            <pc:sldMk cId="1181112711" sldId="2147375600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2:57.050" v="662"/>
          <ac:graphicFrameMkLst>
            <pc:docMk/>
            <pc:sldMk cId="1181112711" sldId="2147375600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4:39.188" v="753" actId="242"/>
        <pc:sldMkLst>
          <pc:docMk/>
          <pc:sldMk cId="3233747587" sldId="2147375601"/>
        </pc:sldMkLst>
        <pc:spChg chg="add del mod modVis">
          <ac:chgData name="Bhushan Madapura [UNext]" userId="2baadad7-7b8e-4632-a62a-dff9a334b569" providerId="ADAL" clId="{F6E155E8-D84C-463E-A3B7-5CF65E1FB393}" dt="2024-08-26T15:00:48.238" v="366"/>
          <ac:spMkLst>
            <pc:docMk/>
            <pc:sldMk cId="3233747587" sldId="2147375601"/>
            <ac:spMk id="2" creationId="{768902A0-D94C-0512-127F-6139A6EBBC9B}"/>
          </ac:spMkLst>
        </pc:spChg>
        <pc:spChg chg="mod">
          <ac:chgData name="Bhushan Madapura [UNext]" userId="2baadad7-7b8e-4632-a62a-dff9a334b569" providerId="ADAL" clId="{F6E155E8-D84C-463E-A3B7-5CF65E1FB393}" dt="2024-08-26T15:03:03.708" v="664" actId="948"/>
          <ac:spMkLst>
            <pc:docMk/>
            <pc:sldMk cId="3233747587" sldId="2147375601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3:03.748" v="686"/>
          <ac:spMkLst>
            <pc:docMk/>
            <pc:sldMk cId="3233747587" sldId="2147375601"/>
            <ac:spMk id="5" creationId="{A871ED72-39DA-7EDE-C584-E7C6C1FB50D2}"/>
          </ac:spMkLst>
        </pc:spChg>
        <pc:spChg chg="mod">
          <ac:chgData name="Bhushan Madapura [UNext]" userId="2baadad7-7b8e-4632-a62a-dff9a334b569" providerId="ADAL" clId="{F6E155E8-D84C-463E-A3B7-5CF65E1FB393}" dt="2024-08-26T15:04:39.188" v="753" actId="242"/>
          <ac:spMkLst>
            <pc:docMk/>
            <pc:sldMk cId="3233747587" sldId="2147375601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03.748" v="688"/>
          <ac:graphicFrameMkLst>
            <pc:docMk/>
            <pc:sldMk cId="3233747587" sldId="2147375601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1:46.909" v="387" actId="207"/>
        <pc:sldMkLst>
          <pc:docMk/>
          <pc:sldMk cId="832949157" sldId="2147375602"/>
        </pc:sldMkLst>
        <pc:spChg chg="mod">
          <ac:chgData name="Bhushan Madapura [UNext]" userId="2baadad7-7b8e-4632-a62a-dff9a334b569" providerId="ADAL" clId="{F6E155E8-D84C-463E-A3B7-5CF65E1FB393}" dt="2024-08-26T15:01:31.979" v="384" actId="20577"/>
          <ac:spMkLst>
            <pc:docMk/>
            <pc:sldMk cId="832949157" sldId="2147375602"/>
            <ac:spMk id="3" creationId="{C02D07F7-B946-BB66-E6EA-DD92C38B1926}"/>
          </ac:spMkLst>
        </pc:spChg>
        <pc:picChg chg="del">
          <ac:chgData name="Bhushan Madapura [UNext]" userId="2baadad7-7b8e-4632-a62a-dff9a334b569" providerId="ADAL" clId="{F6E155E8-D84C-463E-A3B7-5CF65E1FB393}" dt="2024-08-26T15:01:36.713" v="385" actId="478"/>
          <ac:picMkLst>
            <pc:docMk/>
            <pc:sldMk cId="832949157" sldId="2147375602"/>
            <ac:picMk id="2" creationId="{5ED103A7-D95B-E42C-6356-53269A110E83}"/>
          </ac:picMkLst>
        </pc:picChg>
        <pc:picChg chg="add mod">
          <ac:chgData name="Bhushan Madapura [UNext]" userId="2baadad7-7b8e-4632-a62a-dff9a334b569" providerId="ADAL" clId="{F6E155E8-D84C-463E-A3B7-5CF65E1FB393}" dt="2024-08-26T15:01:46.909" v="387" actId="207"/>
          <ac:picMkLst>
            <pc:docMk/>
            <pc:sldMk cId="832949157" sldId="2147375602"/>
            <ac:picMk id="4" creationId="{7164DAAD-2874-8D6F-8FCF-5053DEE24E33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34.423" v="1680" actId="21"/>
        <pc:sldMkLst>
          <pc:docMk/>
          <pc:sldMk cId="3971512377" sldId="2147375603"/>
        </pc:sldMkLst>
        <pc:spChg chg="add del mod modVis">
          <ac:chgData name="Bhushan Madapura [UNext]" userId="2baadad7-7b8e-4632-a62a-dff9a334b569" providerId="ADAL" clId="{F6E155E8-D84C-463E-A3B7-5CF65E1FB393}" dt="2024-08-26T15:02:21.218" v="412"/>
          <ac:spMkLst>
            <pc:docMk/>
            <pc:sldMk cId="3971512377" sldId="2147375603"/>
            <ac:spMk id="2" creationId="{7B78F954-A2B4-2235-870A-4AA977895067}"/>
          </ac:spMkLst>
        </pc:spChg>
        <pc:spChg chg="mod">
          <ac:chgData name="Bhushan Madapura [UNext]" userId="2baadad7-7b8e-4632-a62a-dff9a334b569" providerId="ADAL" clId="{F6E155E8-D84C-463E-A3B7-5CF65E1FB393}" dt="2024-08-26T15:02:21.163" v="390" actId="948"/>
          <ac:spMkLst>
            <pc:docMk/>
            <pc:sldMk cId="3971512377" sldId="2147375603"/>
            <ac:spMk id="3" creationId="{CEA128C4-A0BC-A895-713C-306E7FF62894}"/>
          </ac:spMkLst>
        </pc:spChg>
        <pc:spChg chg="mod">
          <ac:chgData name="Bhushan Madapura [UNext]" userId="2baadad7-7b8e-4632-a62a-dff9a334b569" providerId="ADAL" clId="{F6E155E8-D84C-463E-A3B7-5CF65E1FB393}" dt="2024-08-26T15:20:34.423" v="1680" actId="21"/>
          <ac:spMkLst>
            <pc:docMk/>
            <pc:sldMk cId="3971512377" sldId="2147375603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31.831" v="757" actId="122"/>
          <ac:spMkLst>
            <pc:docMk/>
            <pc:sldMk cId="3971512377" sldId="2147375603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2:21.218" v="414"/>
          <ac:graphicFrameMkLst>
            <pc:docMk/>
            <pc:sldMk cId="3971512377" sldId="2147375603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03:34.413" v="694" actId="1035"/>
          <ac:picMkLst>
            <pc:docMk/>
            <pc:sldMk cId="3971512377" sldId="2147375603"/>
            <ac:picMk id="5" creationId="{0916C17C-12F9-BFD4-9A8B-40B3CFCA8C07}"/>
          </ac:picMkLst>
        </pc:picChg>
        <pc:picChg chg="del">
          <ac:chgData name="Bhushan Madapura [UNext]" userId="2baadad7-7b8e-4632-a62a-dff9a334b569" providerId="ADAL" clId="{F6E155E8-D84C-463E-A3B7-5CF65E1FB393}" dt="2024-08-26T15:03:18.900" v="689" actId="478"/>
          <ac:picMkLst>
            <pc:docMk/>
            <pc:sldMk cId="3971512377" sldId="2147375603"/>
            <ac:picMk id="9" creationId="{8701F636-0E69-F494-2D36-9D9665F8A8DA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25.350" v="1671" actId="20577"/>
        <pc:sldMkLst>
          <pc:docMk/>
          <pc:sldMk cId="3179805674" sldId="2147375604"/>
        </pc:sldMkLst>
        <pc:spChg chg="add del mod modVis">
          <ac:chgData name="Bhushan Madapura [UNext]" userId="2baadad7-7b8e-4632-a62a-dff9a334b569" providerId="ADAL" clId="{F6E155E8-D84C-463E-A3B7-5CF65E1FB393}" dt="2024-08-26T15:03:46.493" v="720"/>
          <ac:spMkLst>
            <pc:docMk/>
            <pc:sldMk cId="3179805674" sldId="2147375604"/>
            <ac:spMk id="2" creationId="{E4D72A80-75DB-E87A-1BBE-55E60409264F}"/>
          </ac:spMkLst>
        </pc:spChg>
        <pc:spChg chg="mod">
          <ac:chgData name="Bhushan Madapura [UNext]" userId="2baadad7-7b8e-4632-a62a-dff9a334b569" providerId="ADAL" clId="{F6E155E8-D84C-463E-A3B7-5CF65E1FB393}" dt="2024-08-26T15:03:46.448" v="698" actId="948"/>
          <ac:spMkLst>
            <pc:docMk/>
            <pc:sldMk cId="3179805674" sldId="2147375604"/>
            <ac:spMk id="3" creationId="{CEA128C4-A0BC-A895-713C-306E7FF62894}"/>
          </ac:spMkLst>
        </pc:spChg>
        <pc:spChg chg="mod">
          <ac:chgData name="Bhushan Madapura [UNext]" userId="2baadad7-7b8e-4632-a62a-dff9a334b569" providerId="ADAL" clId="{F6E155E8-D84C-463E-A3B7-5CF65E1FB393}" dt="2024-08-26T15:20:25.350" v="1671" actId="20577"/>
          <ac:spMkLst>
            <pc:docMk/>
            <pc:sldMk cId="3179805674" sldId="2147375604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42.020" v="759" actId="242"/>
          <ac:spMkLst>
            <pc:docMk/>
            <pc:sldMk cId="3179805674" sldId="2147375604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46.509" v="722"/>
          <ac:graphicFrameMkLst>
            <pc:docMk/>
            <pc:sldMk cId="3179805674" sldId="2147375604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20:24.074" v="1667" actId="20577"/>
        <pc:sldMkLst>
          <pc:docMk/>
          <pc:sldMk cId="86366928" sldId="2147375605"/>
        </pc:sldMkLst>
        <pc:spChg chg="add del mod modVis">
          <ac:chgData name="Bhushan Madapura [UNext]" userId="2baadad7-7b8e-4632-a62a-dff9a334b569" providerId="ADAL" clId="{F6E155E8-D84C-463E-A3B7-5CF65E1FB393}" dt="2024-08-26T15:03:50.125" v="746"/>
          <ac:spMkLst>
            <pc:docMk/>
            <pc:sldMk cId="86366928" sldId="2147375605"/>
            <ac:spMk id="2" creationId="{3C9B2D13-64E0-82E6-FA58-0AC952830673}"/>
          </ac:spMkLst>
        </pc:spChg>
        <pc:spChg chg="mod">
          <ac:chgData name="Bhushan Madapura [UNext]" userId="2baadad7-7b8e-4632-a62a-dff9a334b569" providerId="ADAL" clId="{F6E155E8-D84C-463E-A3B7-5CF65E1FB393}" dt="2024-08-26T15:03:50.066" v="724" actId="948"/>
          <ac:spMkLst>
            <pc:docMk/>
            <pc:sldMk cId="86366928" sldId="2147375605"/>
            <ac:spMk id="3" creationId="{CEA128C4-A0BC-A895-713C-306E7FF62894}"/>
          </ac:spMkLst>
        </pc:spChg>
        <pc:spChg chg="add del">
          <ac:chgData name="Bhushan Madapura [UNext]" userId="2baadad7-7b8e-4632-a62a-dff9a334b569" providerId="ADAL" clId="{F6E155E8-D84C-463E-A3B7-5CF65E1FB393}" dt="2024-08-26T15:07:40.970" v="765" actId="22"/>
          <ac:spMkLst>
            <pc:docMk/>
            <pc:sldMk cId="86366928" sldId="2147375605"/>
            <ac:spMk id="8" creationId="{65F62A7D-C78C-CB76-6341-8F0A31B923F9}"/>
          </ac:spMkLst>
        </pc:spChg>
        <pc:spChg chg="mod">
          <ac:chgData name="Bhushan Madapura [UNext]" userId="2baadad7-7b8e-4632-a62a-dff9a334b569" providerId="ADAL" clId="{F6E155E8-D84C-463E-A3B7-5CF65E1FB393}" dt="2024-08-26T15:20:24.074" v="1667" actId="20577"/>
          <ac:spMkLst>
            <pc:docMk/>
            <pc:sldMk cId="86366928" sldId="2147375605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53.496" v="761" actId="242"/>
          <ac:spMkLst>
            <pc:docMk/>
            <pc:sldMk cId="86366928" sldId="2147375605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50.140" v="748"/>
          <ac:graphicFrameMkLst>
            <pc:docMk/>
            <pc:sldMk cId="86366928" sldId="2147375605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8:22.982" v="799" actId="207"/>
        <pc:sldMkLst>
          <pc:docMk/>
          <pc:sldMk cId="2653617092" sldId="2147375606"/>
        </pc:sldMkLst>
        <pc:spChg chg="mod">
          <ac:chgData name="Bhushan Madapura [UNext]" userId="2baadad7-7b8e-4632-a62a-dff9a334b569" providerId="ADAL" clId="{F6E155E8-D84C-463E-A3B7-5CF65E1FB393}" dt="2024-08-26T15:08:09.283" v="796"/>
          <ac:spMkLst>
            <pc:docMk/>
            <pc:sldMk cId="2653617092" sldId="2147375606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5:08:22.982" v="799" actId="207"/>
          <ac:picMkLst>
            <pc:docMk/>
            <pc:sldMk cId="2653617092" sldId="2147375606"/>
            <ac:picMk id="2" creationId="{F2FEB897-CC3D-F8EF-554F-5F219373693B}"/>
          </ac:picMkLst>
        </pc:picChg>
        <pc:picChg chg="del">
          <ac:chgData name="Bhushan Madapura [UNext]" userId="2baadad7-7b8e-4632-a62a-dff9a334b569" providerId="ADAL" clId="{F6E155E8-D84C-463E-A3B7-5CF65E1FB393}" dt="2024-08-26T15:08:15.070" v="797" actId="478"/>
          <ac:picMkLst>
            <pc:docMk/>
            <pc:sldMk cId="2653617092" sldId="2147375606"/>
            <ac:picMk id="4" creationId="{7164DAAD-2874-8D6F-8FCF-5053DEE24E33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44.036" v="1685" actId="20577"/>
        <pc:sldMkLst>
          <pc:docMk/>
          <pc:sldMk cId="2340944189" sldId="2147375607"/>
        </pc:sldMkLst>
        <pc:spChg chg="mod">
          <ac:chgData name="Bhushan Madapura [UNext]" userId="2baadad7-7b8e-4632-a62a-dff9a334b569" providerId="ADAL" clId="{F6E155E8-D84C-463E-A3B7-5CF65E1FB393}" dt="2024-08-26T15:09:01.667" v="891" actId="948"/>
          <ac:spMkLst>
            <pc:docMk/>
            <pc:sldMk cId="2340944189" sldId="2147375607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8:56.320" v="826"/>
          <ac:spMkLst>
            <pc:docMk/>
            <pc:sldMk cId="2340944189" sldId="2147375607"/>
            <ac:spMk id="6" creationId="{8E365745-15F5-364A-D81A-2FC38F051F48}"/>
          </ac:spMkLst>
        </pc:spChg>
        <pc:spChg chg="add del mod modVis">
          <ac:chgData name="Bhushan Madapura [UNext]" userId="2baadad7-7b8e-4632-a62a-dff9a334b569" providerId="ADAL" clId="{F6E155E8-D84C-463E-A3B7-5CF65E1FB393}" dt="2024-08-26T15:08:59.300" v="856"/>
          <ac:spMkLst>
            <pc:docMk/>
            <pc:sldMk cId="2340944189" sldId="2147375607"/>
            <ac:spMk id="8" creationId="{24951F50-5AA8-0F7A-289B-2B52AFE303D0}"/>
          </ac:spMkLst>
        </pc:spChg>
        <pc:spChg chg="add del mod modVis">
          <ac:chgData name="Bhushan Madapura [UNext]" userId="2baadad7-7b8e-4632-a62a-dff9a334b569" providerId="ADAL" clId="{F6E155E8-D84C-463E-A3B7-5CF65E1FB393}" dt="2024-08-26T15:08:59.914" v="882"/>
          <ac:spMkLst>
            <pc:docMk/>
            <pc:sldMk cId="2340944189" sldId="2147375607"/>
            <ac:spMk id="9" creationId="{6BAA1675-EB45-17B2-6E06-4B178B9CB97E}"/>
          </ac:spMkLst>
        </pc:spChg>
        <pc:spChg chg="mod">
          <ac:chgData name="Bhushan Madapura [UNext]" userId="2baadad7-7b8e-4632-a62a-dff9a334b569" providerId="ADAL" clId="{F6E155E8-D84C-463E-A3B7-5CF65E1FB393}" dt="2024-08-26T15:20:44.036" v="1685" actId="20577"/>
          <ac:spMkLst>
            <pc:docMk/>
            <pc:sldMk cId="2340944189" sldId="2147375607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9:51.588" v="955" actId="122"/>
          <ac:spMkLst>
            <pc:docMk/>
            <pc:sldMk cId="2340944189" sldId="2147375607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09:01.714" v="913"/>
          <ac:spMkLst>
            <pc:docMk/>
            <pc:sldMk cId="2340944189" sldId="2147375607"/>
            <ac:spMk id="13" creationId="{5A99A12D-3656-2CE5-075F-8AB6512D8DC6}"/>
          </ac:spMkLst>
        </pc:spChg>
        <pc:graphicFrameChg chg="mod">
          <ac:chgData name="Bhushan Madapura [UNext]" userId="2baadad7-7b8e-4632-a62a-dff9a334b569" providerId="ADAL" clId="{F6E155E8-D84C-463E-A3B7-5CF65E1FB393}" dt="2024-08-26T15:09:01.714" v="915"/>
          <ac:graphicFrameMkLst>
            <pc:docMk/>
            <pc:sldMk cId="2340944189" sldId="2147375607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08:39.880" v="802" actId="1076"/>
          <ac:picMkLst>
            <pc:docMk/>
            <pc:sldMk cId="2340944189" sldId="2147375607"/>
            <ac:picMk id="2" creationId="{D0FBC2C9-FE71-44D5-391E-1BAA2958F5EE}"/>
          </ac:picMkLst>
        </pc:picChg>
        <pc:picChg chg="del">
          <ac:chgData name="Bhushan Madapura [UNext]" userId="2baadad7-7b8e-4632-a62a-dff9a334b569" providerId="ADAL" clId="{F6E155E8-D84C-463E-A3B7-5CF65E1FB393}" dt="2024-08-26T15:08:34.820" v="801" actId="478"/>
          <ac:picMkLst>
            <pc:docMk/>
            <pc:sldMk cId="2340944189" sldId="2147375607"/>
            <ac:picMk id="5" creationId="{0916C17C-12F9-BFD4-9A8B-40B3CFCA8C0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50.050" v="1689" actId="20577"/>
        <pc:sldMkLst>
          <pc:docMk/>
          <pc:sldMk cId="3159148252" sldId="2147375608"/>
        </pc:sldMkLst>
        <pc:spChg chg="mod">
          <ac:chgData name="Bhushan Madapura [UNext]" userId="2baadad7-7b8e-4632-a62a-dff9a334b569" providerId="ADAL" clId="{F6E155E8-D84C-463E-A3B7-5CF65E1FB393}" dt="2024-08-26T15:10:02.666" v="959" actId="948"/>
          <ac:spMkLst>
            <pc:docMk/>
            <pc:sldMk cId="3159148252" sldId="2147375608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0:02.713" v="981"/>
          <ac:spMkLst>
            <pc:docMk/>
            <pc:sldMk cId="3159148252" sldId="2147375608"/>
            <ac:spMk id="5" creationId="{54D199AF-862A-4F29-C2C4-4C94E5E22352}"/>
          </ac:spMkLst>
        </pc:spChg>
        <pc:spChg chg="mod">
          <ac:chgData name="Bhushan Madapura [UNext]" userId="2baadad7-7b8e-4632-a62a-dff9a334b569" providerId="ADAL" clId="{F6E155E8-D84C-463E-A3B7-5CF65E1FB393}" dt="2024-08-26T15:20:50.050" v="1689" actId="20577"/>
          <ac:spMkLst>
            <pc:docMk/>
            <pc:sldMk cId="3159148252" sldId="2147375608"/>
            <ac:spMk id="11" creationId="{DE9F1BE0-7910-FA1B-DCE8-56EFD1E4FC09}"/>
          </ac:spMkLst>
        </pc:spChg>
        <pc:graphicFrameChg chg="mod">
          <ac:chgData name="Bhushan Madapura [UNext]" userId="2baadad7-7b8e-4632-a62a-dff9a334b569" providerId="ADAL" clId="{F6E155E8-D84C-463E-A3B7-5CF65E1FB393}" dt="2024-08-26T15:10:02.713" v="983"/>
          <ac:graphicFrameMkLst>
            <pc:docMk/>
            <pc:sldMk cId="3159148252" sldId="2147375608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20:53.723" v="1693" actId="20577"/>
        <pc:sldMkLst>
          <pc:docMk/>
          <pc:sldMk cId="3070204084" sldId="2147375609"/>
        </pc:sldMkLst>
        <pc:spChg chg="mod">
          <ac:chgData name="Bhushan Madapura [UNext]" userId="2baadad7-7b8e-4632-a62a-dff9a334b569" providerId="ADAL" clId="{F6E155E8-D84C-463E-A3B7-5CF65E1FB393}" dt="2024-08-26T15:10:07.137" v="985" actId="948"/>
          <ac:spMkLst>
            <pc:docMk/>
            <pc:sldMk cId="3070204084" sldId="2147375609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0:07.177" v="1007"/>
          <ac:spMkLst>
            <pc:docMk/>
            <pc:sldMk cId="3070204084" sldId="2147375609"/>
            <ac:spMk id="5" creationId="{B2DE76A2-21CA-F44E-3677-2894E884A458}"/>
          </ac:spMkLst>
        </pc:spChg>
        <pc:spChg chg="mod">
          <ac:chgData name="Bhushan Madapura [UNext]" userId="2baadad7-7b8e-4632-a62a-dff9a334b569" providerId="ADAL" clId="{F6E155E8-D84C-463E-A3B7-5CF65E1FB393}" dt="2024-08-26T15:20:53.723" v="1693" actId="20577"/>
          <ac:spMkLst>
            <pc:docMk/>
            <pc:sldMk cId="3070204084" sldId="2147375609"/>
            <ac:spMk id="11" creationId="{DE9F1BE0-7910-FA1B-DCE8-56EFD1E4FC09}"/>
          </ac:spMkLst>
        </pc:spChg>
        <pc:graphicFrameChg chg="mod">
          <ac:chgData name="Bhushan Madapura [UNext]" userId="2baadad7-7b8e-4632-a62a-dff9a334b569" providerId="ADAL" clId="{F6E155E8-D84C-463E-A3B7-5CF65E1FB393}" dt="2024-08-26T15:10:07.196" v="1009"/>
          <ac:graphicFrameMkLst>
            <pc:docMk/>
            <pc:sldMk cId="3070204084" sldId="2147375609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10:51.626" v="1026" actId="207"/>
        <pc:sldMkLst>
          <pc:docMk/>
          <pc:sldMk cId="12943417" sldId="2147375610"/>
        </pc:sldMkLst>
        <pc:spChg chg="mod">
          <ac:chgData name="Bhushan Madapura [UNext]" userId="2baadad7-7b8e-4632-a62a-dff9a334b569" providerId="ADAL" clId="{F6E155E8-D84C-463E-A3B7-5CF65E1FB393}" dt="2024-08-26T15:10:39.492" v="1023" actId="20577"/>
          <ac:spMkLst>
            <pc:docMk/>
            <pc:sldMk cId="12943417" sldId="2147375610"/>
            <ac:spMk id="3" creationId="{C02D07F7-B946-BB66-E6EA-DD92C38B1926}"/>
          </ac:spMkLst>
        </pc:spChg>
        <pc:picChg chg="del">
          <ac:chgData name="Bhushan Madapura [UNext]" userId="2baadad7-7b8e-4632-a62a-dff9a334b569" providerId="ADAL" clId="{F6E155E8-D84C-463E-A3B7-5CF65E1FB393}" dt="2024-08-26T15:10:43.027" v="1024" actId="478"/>
          <ac:picMkLst>
            <pc:docMk/>
            <pc:sldMk cId="12943417" sldId="2147375610"/>
            <ac:picMk id="2" creationId="{F2FEB897-CC3D-F8EF-554F-5F219373693B}"/>
          </ac:picMkLst>
        </pc:picChg>
        <pc:picChg chg="add mod">
          <ac:chgData name="Bhushan Madapura [UNext]" userId="2baadad7-7b8e-4632-a62a-dff9a334b569" providerId="ADAL" clId="{F6E155E8-D84C-463E-A3B7-5CF65E1FB393}" dt="2024-08-26T15:10:51.626" v="1026" actId="207"/>
          <ac:picMkLst>
            <pc:docMk/>
            <pc:sldMk cId="12943417" sldId="2147375610"/>
            <ac:picMk id="4" creationId="{B5F8A401-110E-E4BD-2FD5-DBD699116CE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4:14.777" v="1380" actId="207"/>
        <pc:sldMkLst>
          <pc:docMk/>
          <pc:sldMk cId="3754613224" sldId="2147375611"/>
        </pc:sldMkLst>
        <pc:spChg chg="mod">
          <ac:chgData name="Bhushan Madapura [UNext]" userId="2baadad7-7b8e-4632-a62a-dff9a334b569" providerId="ADAL" clId="{F6E155E8-D84C-463E-A3B7-5CF65E1FB393}" dt="2024-08-26T15:11:59.253" v="1315" actId="948"/>
          <ac:spMkLst>
            <pc:docMk/>
            <pc:sldMk cId="3754613224" sldId="2147375611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1:41.241" v="1061"/>
          <ac:spMkLst>
            <pc:docMk/>
            <pc:sldMk cId="3754613224" sldId="2147375611"/>
            <ac:spMk id="6" creationId="{37C9C12D-5F89-5A37-A538-47F3C6DEAD0C}"/>
          </ac:spMkLst>
        </pc:spChg>
        <pc:spChg chg="add del mod modVis">
          <ac:chgData name="Bhushan Madapura [UNext]" userId="2baadad7-7b8e-4632-a62a-dff9a334b569" providerId="ADAL" clId="{F6E155E8-D84C-463E-A3B7-5CF65E1FB393}" dt="2024-08-26T15:11:42.457" v="1088"/>
          <ac:spMkLst>
            <pc:docMk/>
            <pc:sldMk cId="3754613224" sldId="2147375611"/>
            <ac:spMk id="8" creationId="{31F7281E-02FE-258A-AC7E-3B325FFEE857}"/>
          </ac:spMkLst>
        </pc:spChg>
        <pc:spChg chg="add del mod modVis">
          <ac:chgData name="Bhushan Madapura [UNext]" userId="2baadad7-7b8e-4632-a62a-dff9a334b569" providerId="ADAL" clId="{F6E155E8-D84C-463E-A3B7-5CF65E1FB393}" dt="2024-08-26T15:11:45.446" v="1118"/>
          <ac:spMkLst>
            <pc:docMk/>
            <pc:sldMk cId="3754613224" sldId="2147375611"/>
            <ac:spMk id="9" creationId="{DF8DE873-89D3-A7B9-D32F-7E42334F008D}"/>
          </ac:spMkLst>
        </pc:spChg>
        <pc:spChg chg="del">
          <ac:chgData name="Bhushan Madapura [UNext]" userId="2baadad7-7b8e-4632-a62a-dff9a334b569" providerId="ADAL" clId="{F6E155E8-D84C-463E-A3B7-5CF65E1FB393}" dt="2024-08-26T15:11:24.078" v="1033" actId="478"/>
          <ac:spMkLst>
            <pc:docMk/>
            <pc:sldMk cId="3754613224" sldId="2147375611"/>
            <ac:spMk id="11" creationId="{DE9F1BE0-7910-FA1B-DCE8-56EFD1E4FC09}"/>
          </ac:spMkLst>
        </pc:spChg>
        <pc:spChg chg="del">
          <ac:chgData name="Bhushan Madapura [UNext]" userId="2baadad7-7b8e-4632-a62a-dff9a334b569" providerId="ADAL" clId="{F6E155E8-D84C-463E-A3B7-5CF65E1FB393}" dt="2024-08-26T15:11:24.078" v="1033" actId="478"/>
          <ac:spMkLst>
            <pc:docMk/>
            <pc:sldMk cId="3754613224" sldId="2147375611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11:52.266" v="1226" actId="962"/>
          <ac:spMkLst>
            <pc:docMk/>
            <pc:sldMk cId="3754613224" sldId="2147375611"/>
            <ac:spMk id="13" creationId="{43639060-102A-2B79-326F-01F9E7A963CE}"/>
          </ac:spMkLst>
        </pc:spChg>
        <pc:spChg chg="add del mod modVis">
          <ac:chgData name="Bhushan Madapura [UNext]" userId="2baadad7-7b8e-4632-a62a-dff9a334b569" providerId="ADAL" clId="{F6E155E8-D84C-463E-A3B7-5CF65E1FB393}" dt="2024-08-26T15:11:51.125" v="1204" actId="962"/>
          <ac:spMkLst>
            <pc:docMk/>
            <pc:sldMk cId="3754613224" sldId="2147375611"/>
            <ac:spMk id="14" creationId="{99D52187-2C9F-DB4A-7514-2F8FC3C0FC54}"/>
          </ac:spMkLst>
        </pc:spChg>
        <pc:spChg chg="add del mod modVis">
          <ac:chgData name="Bhushan Madapura [UNext]" userId="2baadad7-7b8e-4632-a62a-dff9a334b569" providerId="ADAL" clId="{F6E155E8-D84C-463E-A3B7-5CF65E1FB393}" dt="2024-08-26T15:11:54.813" v="1262"/>
          <ac:spMkLst>
            <pc:docMk/>
            <pc:sldMk cId="3754613224" sldId="2147375611"/>
            <ac:spMk id="15" creationId="{7B11F048-CD43-F6FC-C32E-BD1E57BB325C}"/>
          </ac:spMkLst>
        </pc:spChg>
        <pc:spChg chg="add del mod modVis">
          <ac:chgData name="Bhushan Madapura [UNext]" userId="2baadad7-7b8e-4632-a62a-dff9a334b569" providerId="ADAL" clId="{F6E155E8-D84C-463E-A3B7-5CF65E1FB393}" dt="2024-08-26T15:11:58.702" v="1311"/>
          <ac:spMkLst>
            <pc:docMk/>
            <pc:sldMk cId="3754613224" sldId="2147375611"/>
            <ac:spMk id="16" creationId="{F86522A6-90E0-07AD-C025-7A90268C7052}"/>
          </ac:spMkLst>
        </pc:spChg>
        <pc:spChg chg="add del mod modVis">
          <ac:chgData name="Bhushan Madapura [UNext]" userId="2baadad7-7b8e-4632-a62a-dff9a334b569" providerId="ADAL" clId="{F6E155E8-D84C-463E-A3B7-5CF65E1FB393}" dt="2024-08-26T15:11:59.295" v="1337"/>
          <ac:spMkLst>
            <pc:docMk/>
            <pc:sldMk cId="3754613224" sldId="2147375611"/>
            <ac:spMk id="17" creationId="{432B17AC-36EC-2DE0-0988-F03DEA76F34E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18" creationId="{6C73795A-BE20-7075-E9C6-6F145CE60794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19" creationId="{A3E2F4D1-4417-E244-3DB9-A6FF5866A342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20" creationId="{3EBEB0AC-D407-44FD-A74F-90F67F3D13C3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1" creationId="{DF8FD767-7EE2-8BA3-9320-45A7293391FF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2" creationId="{9289516E-B769-4A13-DD90-39AC62DED9BD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3" creationId="{4461DDA7-0DFB-87EE-DF38-AA6219713C1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5" creationId="{3A38CCAC-78C9-81D4-1E36-CB51C7166169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6" creationId="{E083201A-5603-E7AE-C4E0-0A003C89B464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8" creationId="{0D5B9A7E-609B-61CB-6B76-65F108A044F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0" creationId="{6A73770E-F6A1-75D7-11EF-CB4EC6F3B336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1" creationId="{3529665D-D778-71CC-E4C5-628FF603244E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2" creationId="{1D07999A-0B9E-EABC-79E7-1E3F332E33D8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3" creationId="{417F16D0-0B89-5C5D-14AF-5F751A829BE1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4" creationId="{EBCE8487-1B7B-DC4F-4D30-0095CB46F85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5" creationId="{6C353EFD-0A51-247D-9F9E-964856BBE9A0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7" creationId="{B380DB8B-E26A-8E61-2773-43637836E1B1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9" creationId="{EA3947DC-A4F0-4BBD-41F0-EA78C084B8E8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0" creationId="{3CF09D77-F139-589A-402B-7F84A005143C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1" creationId="{DF1C3F24-8703-6BE4-9364-F8F863E7757D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2" creationId="{1DE81C7A-C97B-97B8-B392-DBCDDA5F8A07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4" creationId="{30FC6696-8ED2-5800-8AD1-C2F5C1FCEEDC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6" creationId="{0B8AAE0D-A0CC-6781-4119-45DC8DA00CC2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7" creationId="{C4AA161E-775B-9704-92E4-4BAC4DDBBBE7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8" creationId="{CFC8005E-4EBB-D416-EE9D-B49224478123}"/>
          </ac:spMkLst>
        </pc:s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24" creationId="{DCA04876-65F9-DDA2-9E8E-9D570857B2A5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27" creationId="{B808CBE1-9B84-7818-F1B7-F6B6847390C9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29" creationId="{1C95187E-2D4F-6A0D-B336-8B096F1468D7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36" creationId="{687B6C54-1790-E64F-C35E-76DA0084E125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38" creationId="{31961FAE-21E7-F95B-70E1-CB3C7A6E0466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43" creationId="{3B45C904-9ACC-B1CD-AC94-A5F94AF041AF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45" creationId="{6B0F16DB-169E-EC84-058E-2EA7335875D9}"/>
          </ac:grpSpMkLst>
        </pc:grpChg>
        <pc:graphicFrameChg chg="mod">
          <ac:chgData name="Bhushan Madapura [UNext]" userId="2baadad7-7b8e-4632-a62a-dff9a334b569" providerId="ADAL" clId="{F6E155E8-D84C-463E-A3B7-5CF65E1FB393}" dt="2024-08-26T15:11:59.300" v="1339"/>
          <ac:graphicFrameMkLst>
            <pc:docMk/>
            <pc:sldMk cId="3754613224" sldId="2147375611"/>
            <ac:graphicFrameMk id="7" creationId="{3583FF9E-539E-FE29-E73B-3EF7E093601C}"/>
          </ac:graphicFrameMkLst>
        </pc:graphicFrameChg>
        <pc:picChg chg="del">
          <ac:chgData name="Bhushan Madapura [UNext]" userId="2baadad7-7b8e-4632-a62a-dff9a334b569" providerId="ADAL" clId="{F6E155E8-D84C-463E-A3B7-5CF65E1FB393}" dt="2024-08-26T15:11:14.539" v="1030" actId="478"/>
          <ac:picMkLst>
            <pc:docMk/>
            <pc:sldMk cId="3754613224" sldId="2147375611"/>
            <ac:picMk id="2" creationId="{D0FBC2C9-FE71-44D5-391E-1BAA2958F5EE}"/>
          </ac:picMkLst>
        </pc:picChg>
        <pc:picChg chg="add mod">
          <ac:chgData name="Bhushan Madapura [UNext]" userId="2baadad7-7b8e-4632-a62a-dff9a334b569" providerId="ADAL" clId="{F6E155E8-D84C-463E-A3B7-5CF65E1FB393}" dt="2024-08-26T15:11:19.640" v="1032" actId="1076"/>
          <ac:picMkLst>
            <pc:docMk/>
            <pc:sldMk cId="3754613224" sldId="2147375611"/>
            <ac:picMk id="5" creationId="{B5EEB56D-B388-3B36-90D7-E1D1797C4F6C}"/>
          </ac:picMkLst>
        </pc:picChg>
      </pc:sldChg>
      <pc:sldChg chg="add del">
        <pc:chgData name="Bhushan Madapura [UNext]" userId="2baadad7-7b8e-4632-a62a-dff9a334b569" providerId="ADAL" clId="{F6E155E8-D84C-463E-A3B7-5CF65E1FB393}" dt="2024-08-26T15:11:05.550" v="1029"/>
        <pc:sldMkLst>
          <pc:docMk/>
          <pc:sldMk cId="433381282" sldId="2147375612"/>
        </pc:sldMkLst>
      </pc:sldChg>
      <pc:sldChg chg="addSp delSp modSp add mod">
        <pc:chgData name="Bhushan Madapura [UNext]" userId="2baadad7-7b8e-4632-a62a-dff9a334b569" providerId="ADAL" clId="{F6E155E8-D84C-463E-A3B7-5CF65E1FB393}" dt="2024-08-26T15:14:52.931" v="1405" actId="207"/>
        <pc:sldMkLst>
          <pc:docMk/>
          <pc:sldMk cId="660662221" sldId="2147375612"/>
        </pc:sldMkLst>
        <pc:spChg chg="mod">
          <ac:chgData name="Bhushan Madapura [UNext]" userId="2baadad7-7b8e-4632-a62a-dff9a334b569" providerId="ADAL" clId="{F6E155E8-D84C-463E-A3B7-5CF65E1FB393}" dt="2024-08-26T15:14:41.582" v="1402" actId="20577"/>
          <ac:spMkLst>
            <pc:docMk/>
            <pc:sldMk cId="660662221" sldId="2147375612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5:14:52.931" v="1405" actId="207"/>
          <ac:picMkLst>
            <pc:docMk/>
            <pc:sldMk cId="660662221" sldId="2147375612"/>
            <ac:picMk id="2" creationId="{05221367-599F-F73C-4BD3-0C82C72014FC}"/>
          </ac:picMkLst>
        </pc:picChg>
        <pc:picChg chg="del">
          <ac:chgData name="Bhushan Madapura [UNext]" userId="2baadad7-7b8e-4632-a62a-dff9a334b569" providerId="ADAL" clId="{F6E155E8-D84C-463E-A3B7-5CF65E1FB393}" dt="2024-08-26T15:14:44.384" v="1403" actId="478"/>
          <ac:picMkLst>
            <pc:docMk/>
            <pc:sldMk cId="660662221" sldId="2147375612"/>
            <ac:picMk id="4" creationId="{B5F8A401-110E-E4BD-2FD5-DBD699116CE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6:32.781" v="1533" actId="122"/>
        <pc:sldMkLst>
          <pc:docMk/>
          <pc:sldMk cId="1148838763" sldId="2147375613"/>
        </pc:sldMkLst>
        <pc:spChg chg="mod">
          <ac:chgData name="Bhushan Madapura [UNext]" userId="2baadad7-7b8e-4632-a62a-dff9a334b569" providerId="ADAL" clId="{F6E155E8-D84C-463E-A3B7-5CF65E1FB393}" dt="2024-08-26T15:15:48.857" v="1485" actId="948"/>
          <ac:spMkLst>
            <pc:docMk/>
            <pc:sldMk cId="1148838763" sldId="2147375613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5:47.610" v="1454"/>
          <ac:spMkLst>
            <pc:docMk/>
            <pc:sldMk cId="1148838763" sldId="2147375613"/>
            <ac:spMk id="6" creationId="{7A533F93-1145-78FC-44EC-2D1FF0070EC8}"/>
          </ac:spMkLst>
        </pc:spChg>
        <pc:spChg chg="add del mod modVis">
          <ac:chgData name="Bhushan Madapura [UNext]" userId="2baadad7-7b8e-4632-a62a-dff9a334b569" providerId="ADAL" clId="{F6E155E8-D84C-463E-A3B7-5CF65E1FB393}" dt="2024-08-26T15:15:48.320" v="1481"/>
          <ac:spMkLst>
            <pc:docMk/>
            <pc:sldMk cId="1148838763" sldId="2147375613"/>
            <ac:spMk id="8" creationId="{D10124C6-6D24-43E2-53F9-F1CAF3218B04}"/>
          </ac:spMkLst>
        </pc:spChg>
        <pc:spChg chg="add del mod modVis">
          <ac:chgData name="Bhushan Madapura [UNext]" userId="2baadad7-7b8e-4632-a62a-dff9a334b569" providerId="ADAL" clId="{F6E155E8-D84C-463E-A3B7-5CF65E1FB393}" dt="2024-08-26T15:15:48.904" v="1507"/>
          <ac:spMkLst>
            <pc:docMk/>
            <pc:sldMk cId="1148838763" sldId="2147375613"/>
            <ac:spMk id="9" creationId="{9119CDCB-874F-9FE0-026A-9813546EEE2D}"/>
          </ac:spMkLst>
        </pc:spChg>
        <pc:spChg chg="add mod">
          <ac:chgData name="Bhushan Madapura [UNext]" userId="2baadad7-7b8e-4632-a62a-dff9a334b569" providerId="ADAL" clId="{F6E155E8-D84C-463E-A3B7-5CF65E1FB393}" dt="2024-08-26T15:16:21.486" v="1532" actId="207"/>
          <ac:spMkLst>
            <pc:docMk/>
            <pc:sldMk cId="1148838763" sldId="2147375613"/>
            <ac:spMk id="11" creationId="{8CC1343B-2E39-FEFF-8FF6-46822F18B432}"/>
          </ac:spMkLst>
        </pc:spChg>
        <pc:spChg chg="add mod">
          <ac:chgData name="Bhushan Madapura [UNext]" userId="2baadad7-7b8e-4632-a62a-dff9a334b569" providerId="ADAL" clId="{F6E155E8-D84C-463E-A3B7-5CF65E1FB393}" dt="2024-08-26T15:16:32.781" v="1533" actId="122"/>
          <ac:spMkLst>
            <pc:docMk/>
            <pc:sldMk cId="1148838763" sldId="2147375613"/>
            <ac:spMk id="12" creationId="{5A873A1A-E63F-91AE-7D43-ED0F86870147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18" creationId="{6C73795A-BE20-7075-E9C6-6F145CE60794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19" creationId="{A3E2F4D1-4417-E244-3DB9-A6FF5866A342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0" creationId="{3EBEB0AC-D407-44FD-A74F-90F67F3D13C3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1" creationId="{DF8FD767-7EE2-8BA3-9320-45A7293391FF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2" creationId="{9289516E-B769-4A13-DD90-39AC62DED9BD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3" creationId="{4461DDA7-0DFB-87EE-DF38-AA6219713C1B}"/>
          </ac:spMkLst>
        </pc:s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24" creationId="{DCA04876-65F9-DDA2-9E8E-9D570857B2A5}"/>
          </ac:grpSpMkLst>
        </pc:grpChg>
        <pc:grpChg chg="del mod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27" creationId="{B808CBE1-9B84-7818-F1B7-F6B6847390C9}"/>
          </ac:grpSpMkLst>
        </pc:gr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36" creationId="{687B6C54-1790-E64F-C35E-76DA0084E125}"/>
          </ac:grpSpMkLst>
        </pc:gr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43" creationId="{3B45C904-9ACC-B1CD-AC94-A5F94AF041AF}"/>
          </ac:grpSpMkLst>
        </pc:grpChg>
        <pc:graphicFrameChg chg="mod">
          <ac:chgData name="Bhushan Madapura [UNext]" userId="2baadad7-7b8e-4632-a62a-dff9a334b569" providerId="ADAL" clId="{F6E155E8-D84C-463E-A3B7-5CF65E1FB393}" dt="2024-08-26T15:15:48.904" v="1509"/>
          <ac:graphicFrameMkLst>
            <pc:docMk/>
            <pc:sldMk cId="1148838763" sldId="2147375613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15:31.036" v="1412" actId="207"/>
          <ac:picMkLst>
            <pc:docMk/>
            <pc:sldMk cId="1148838763" sldId="2147375613"/>
            <ac:picMk id="2" creationId="{09B39B69-AA92-EAA5-718F-24380CF24656}"/>
          </ac:picMkLst>
        </pc:picChg>
        <pc:picChg chg="del">
          <ac:chgData name="Bhushan Madapura [UNext]" userId="2baadad7-7b8e-4632-a62a-dff9a334b569" providerId="ADAL" clId="{F6E155E8-D84C-463E-A3B7-5CF65E1FB393}" dt="2024-08-26T15:15:09.941" v="1407" actId="478"/>
          <ac:picMkLst>
            <pc:docMk/>
            <pc:sldMk cId="1148838763" sldId="2147375613"/>
            <ac:picMk id="5" creationId="{B5EEB56D-B388-3B36-90D7-E1D1797C4F6C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8:14.699" v="1565" actId="20577"/>
        <pc:sldMkLst>
          <pc:docMk/>
          <pc:sldMk cId="3865850111" sldId="2147375614"/>
        </pc:sldMkLst>
        <pc:spChg chg="mod">
          <ac:chgData name="Bhushan Madapura [UNext]" userId="2baadad7-7b8e-4632-a62a-dff9a334b569" providerId="ADAL" clId="{F6E155E8-D84C-463E-A3B7-5CF65E1FB393}" dt="2024-08-26T15:16:59.035" v="1542" actId="948"/>
          <ac:spMkLst>
            <pc:docMk/>
            <pc:sldMk cId="3865850111" sldId="2147375614"/>
            <ac:spMk id="3" creationId="{CEA128C4-A0BC-A895-713C-306E7FF62894}"/>
          </ac:spMkLst>
        </pc:spChg>
        <pc:spChg chg="add mod">
          <ac:chgData name="Bhushan Madapura [UNext]" userId="2baadad7-7b8e-4632-a62a-dff9a334b569" providerId="ADAL" clId="{F6E155E8-D84C-463E-A3B7-5CF65E1FB393}" dt="2024-08-26T15:18:14.699" v="1565" actId="20577"/>
          <ac:spMkLst>
            <pc:docMk/>
            <pc:sldMk cId="3865850111" sldId="2147375614"/>
            <ac:spMk id="6" creationId="{AC2F88D2-81D4-FAD4-568E-A3F495B06411}"/>
          </ac:spMkLst>
        </pc:spChg>
        <pc:spChg chg="del">
          <ac:chgData name="Bhushan Madapura [UNext]" userId="2baadad7-7b8e-4632-a62a-dff9a334b569" providerId="ADAL" clId="{F6E155E8-D84C-463E-A3B7-5CF65E1FB393}" dt="2024-08-26T15:17:18.476" v="1549" actId="478"/>
          <ac:spMkLst>
            <pc:docMk/>
            <pc:sldMk cId="3865850111" sldId="2147375614"/>
            <ac:spMk id="11" creationId="{8CC1343B-2E39-FEFF-8FF6-46822F18B432}"/>
          </ac:spMkLst>
        </pc:spChg>
        <pc:spChg chg="del">
          <ac:chgData name="Bhushan Madapura [UNext]" userId="2baadad7-7b8e-4632-a62a-dff9a334b569" providerId="ADAL" clId="{F6E155E8-D84C-463E-A3B7-5CF65E1FB393}" dt="2024-08-26T15:17:18.476" v="1549" actId="478"/>
          <ac:spMkLst>
            <pc:docMk/>
            <pc:sldMk cId="3865850111" sldId="2147375614"/>
            <ac:spMk id="12" creationId="{5A873A1A-E63F-91AE-7D43-ED0F86870147}"/>
          </ac:spMkLst>
        </pc:spChg>
        <pc:graphicFrameChg chg="mod">
          <ac:chgData name="Bhushan Madapura [UNext]" userId="2baadad7-7b8e-4632-a62a-dff9a334b569" providerId="ADAL" clId="{F6E155E8-D84C-463E-A3B7-5CF65E1FB393}" dt="2024-08-26T15:16:59.048" v="1544"/>
          <ac:graphicFrameMkLst>
            <pc:docMk/>
            <pc:sldMk cId="3865850111" sldId="2147375614"/>
            <ac:graphicFrameMk id="7" creationId="{3583FF9E-539E-FE29-E73B-3EF7E093601C}"/>
          </ac:graphicFrameMkLst>
        </pc:graphicFrameChg>
        <pc:picChg chg="del">
          <ac:chgData name="Bhushan Madapura [UNext]" userId="2baadad7-7b8e-4632-a62a-dff9a334b569" providerId="ADAL" clId="{F6E155E8-D84C-463E-A3B7-5CF65E1FB393}" dt="2024-08-26T15:17:07.109" v="1545" actId="478"/>
          <ac:picMkLst>
            <pc:docMk/>
            <pc:sldMk cId="3865850111" sldId="2147375614"/>
            <ac:picMk id="2" creationId="{09B39B69-AA92-EAA5-718F-24380CF24656}"/>
          </ac:picMkLst>
        </pc:picChg>
        <pc:picChg chg="add mod">
          <ac:chgData name="Bhushan Madapura [UNext]" userId="2baadad7-7b8e-4632-a62a-dff9a334b569" providerId="ADAL" clId="{F6E155E8-D84C-463E-A3B7-5CF65E1FB393}" dt="2024-08-26T15:17:14.481" v="1548" actId="207"/>
          <ac:picMkLst>
            <pc:docMk/>
            <pc:sldMk cId="3865850111" sldId="2147375614"/>
            <ac:picMk id="5" creationId="{4C05FBB4-1D96-ED51-AB17-618E4D4052D9}"/>
          </ac:picMkLst>
        </pc:picChg>
      </pc:sldChg>
      <pc:sldMasterChg chg="delSldLayout">
        <pc:chgData name="Bhushan Madapura [UNext]" userId="2baadad7-7b8e-4632-a62a-dff9a334b569" providerId="ADAL" clId="{F6E155E8-D84C-463E-A3B7-5CF65E1FB393}" dt="2024-08-26T15:18:21.903" v="1573" actId="47"/>
        <pc:sldMasterMkLst>
          <pc:docMk/>
          <pc:sldMasterMk cId="2597032904" sldId="2147483648"/>
        </pc:sldMasterMkLst>
        <pc:sldLayoutChg chg="del">
          <pc:chgData name="Bhushan Madapura [UNext]" userId="2baadad7-7b8e-4632-a62a-dff9a334b569" providerId="ADAL" clId="{F6E155E8-D84C-463E-A3B7-5CF65E1FB393}" dt="2024-08-26T15:18:21.903" v="1573" actId="47"/>
          <pc:sldLayoutMkLst>
            <pc:docMk/>
            <pc:sldMasterMk cId="2597032904" sldId="2147483648"/>
            <pc:sldLayoutMk cId="351042113" sldId="2147483667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EFE5A76-C01F-4BC9-88F3-398B036E3DE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978A5B3-1817-426C-9FE1-7C805AB7B56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65F293-8627-45D3-8E1A-F6ADA80B8E24}" type="datetimeFigureOut">
              <a:rPr lang="en-US" smtClean="0"/>
              <a:t>8/30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A430698-86D0-4ED7-BA12-B188B70018A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F18B094-49A8-4C1A-89B2-A2DD3D782F3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E9A553-0509-4CFD-AE32-30968D1E42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05579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509F1D-83B7-43AF-A495-3D2B1AB5AEA1}" type="datetimeFigureOut">
              <a:rPr lang="fr-FR" smtClean="0"/>
              <a:t>30/08/2024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E40836-DCE2-43E5-BC89-B27048B0D1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19470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12" Type="http://schemas.openxmlformats.org/officeDocument/2006/relationships/image" Target="../media/image19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3.sv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0" Type="http://schemas.openxmlformats.org/officeDocument/2006/relationships/image" Target="../media/image17.svg"/><Relationship Id="rId4" Type="http://schemas.openxmlformats.org/officeDocument/2006/relationships/image" Target="../media/image11.svg"/><Relationship Id="rId9" Type="http://schemas.openxmlformats.org/officeDocument/2006/relationships/image" Target="../media/image16.png"/><Relationship Id="rId14" Type="http://schemas.openxmlformats.org/officeDocument/2006/relationships/image" Target="../media/image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10F0E9A1-B6DE-4168-B5A1-8DD9A175CD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4322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F424BBA8-8B40-48D2-944C-09BAE91D37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2334" y="4544698"/>
            <a:ext cx="6259003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1B38EA-93F4-4AE2-A67B-F3B4600DBC3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56639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C65561A-2CFC-4A8B-9C60-BCE32A0B53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615" y="3716073"/>
            <a:ext cx="10525125" cy="120173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45ED35D-2033-4D06-A960-F501039EB620}"/>
              </a:ext>
            </a:extLst>
          </p:cNvPr>
          <p:cNvGrpSpPr/>
          <p:nvPr userDrawn="1"/>
        </p:nvGrpSpPr>
        <p:grpSpPr>
          <a:xfrm>
            <a:off x="667246" y="786655"/>
            <a:ext cx="1903700" cy="594469"/>
            <a:chOff x="-1341375" y="2360931"/>
            <a:chExt cx="1059076" cy="330718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BC09FDE2-AE7C-485C-ADFC-AC10B7828C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21960"/>
            <a:stretch/>
          </p:blipFill>
          <p:spPr>
            <a:xfrm>
              <a:off x="-1108801" y="2360931"/>
              <a:ext cx="826502" cy="330718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CC0F8E41-253E-41DF-8E38-8F20042CF50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r="78849"/>
            <a:stretch/>
          </p:blipFill>
          <p:spPr>
            <a:xfrm>
              <a:off x="-1341375" y="2360931"/>
              <a:ext cx="224001" cy="330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25256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Video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Media Placeholder 18">
            <a:extLst>
              <a:ext uri="{FF2B5EF4-FFF2-40B4-BE49-F238E27FC236}">
                <a16:creationId xmlns:a16="http://schemas.microsoft.com/office/drawing/2014/main" id="{0163825F-9622-442C-A955-9A670AE36873}"/>
              </a:ext>
            </a:extLst>
          </p:cNvPr>
          <p:cNvSpPr>
            <a:spLocks noGrp="1"/>
          </p:cNvSpPr>
          <p:nvPr>
            <p:ph type="media" sz="quarter" idx="15"/>
          </p:nvPr>
        </p:nvSpPr>
        <p:spPr>
          <a:xfrm>
            <a:off x="463550" y="2155178"/>
            <a:ext cx="4939724" cy="2766001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270D"/>
              </a:buClr>
              <a:buFontTx/>
              <a:buNone/>
              <a:defRPr/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2129C50-A50F-426C-A1B4-A5BC0AE117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4023A7D-6604-4466-8935-5BE76FFE35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70D8C073-C831-4972-98E2-0D778FB919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75597" y="2155178"/>
            <a:ext cx="5748232" cy="276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AEBAD36-EC7D-4C77-89DF-F466D092DE3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0C2C1531-8A99-4649-BB92-845205A8A3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5CB26993-C947-4534-8402-0F64F94B2D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9739996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D03BBA6-5CE3-44D2-BEC3-1F68D8C3484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AE695197-BFA0-4150-8526-A4FF321426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D213610D-1924-491C-AEBA-1EC1399317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673634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46F6C916-80AD-43A5-AE45-7BB6AF28E6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632"/>
          <a:stretch/>
        </p:blipFill>
        <p:spPr>
          <a:xfrm>
            <a:off x="-1" y="8789"/>
            <a:ext cx="12192001" cy="5996093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3C865BB1-7E41-4D27-A250-D75244451574}"/>
              </a:ext>
            </a:extLst>
          </p:cNvPr>
          <p:cNvSpPr/>
          <p:nvPr userDrawn="1"/>
        </p:nvSpPr>
        <p:spPr>
          <a:xfrm>
            <a:off x="-2" y="0"/>
            <a:ext cx="12179808" cy="5926822"/>
          </a:xfrm>
          <a:prstGeom prst="rect">
            <a:avLst/>
          </a:prstGeom>
          <a:solidFill>
            <a:schemeClr val="tx1">
              <a:alpha val="5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5642" y="2673043"/>
            <a:ext cx="10525125" cy="59831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Thank You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A40EE48-6312-4506-A13E-61545C93DC92}"/>
              </a:ext>
            </a:extLst>
          </p:cNvPr>
          <p:cNvSpPr/>
          <p:nvPr userDrawn="1"/>
        </p:nvSpPr>
        <p:spPr>
          <a:xfrm>
            <a:off x="0" y="5922632"/>
            <a:ext cx="12192000" cy="10046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9492702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625519DA-A563-4E26-A5A3-35A5F1B0BE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1" y="2155178"/>
            <a:ext cx="5632450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8DE7D5C9-099D-4B37-AD1E-5D9D7C8964E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354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8B52B608-7F53-4519-97B1-8C454FF7D97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93791" y="2155178"/>
            <a:ext cx="5530037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9B4E35-2FEB-4EFE-9AB0-3ABEE0F71AF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9378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467AEEF8-0ECF-447C-B907-EE4C832274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 b="0">
                <a:solidFill>
                  <a:srgbClr val="FF270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81169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36E3703-E07A-42E3-B578-C8CADCDE0E8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6D44476-C256-492F-B4D6-1B81ABF13BF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4" name="Slide Number Placeholder 6">
            <a:extLst>
              <a:ext uri="{FF2B5EF4-FFF2-40B4-BE49-F238E27FC236}">
                <a16:creationId xmlns:a16="http://schemas.microsoft.com/office/drawing/2014/main" id="{8557D49C-6CE5-40CD-BC10-0299D651B34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6172437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CDCAA10-24E4-4878-9FD1-7E1C15708AA4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B14A226-019D-4AE3-BEB3-580AC6BC822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DFD564CF-E82C-4982-9D70-AA731293D5B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555583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5052915-8A36-4DED-A9A2-2E2D0A9A39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2" y="0"/>
            <a:ext cx="12167616" cy="685800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C1D2BAA8-F933-4BD0-9B21-54CF3421868E}"/>
              </a:ext>
            </a:extLst>
          </p:cNvPr>
          <p:cNvSpPr/>
          <p:nvPr userDrawn="1"/>
        </p:nvSpPr>
        <p:spPr>
          <a:xfrm>
            <a:off x="0" y="4712677"/>
            <a:ext cx="12192000" cy="21453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E02DE59-679E-47F9-BE8C-774CAE105C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400"/>
          <a:stretch/>
        </p:blipFill>
        <p:spPr>
          <a:xfrm>
            <a:off x="-1" y="8790"/>
            <a:ext cx="12192001" cy="470388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8EF4414-5723-465C-B9A9-EB1133424EAF}"/>
              </a:ext>
            </a:extLst>
          </p:cNvPr>
          <p:cNvSpPr/>
          <p:nvPr userDrawn="1"/>
        </p:nvSpPr>
        <p:spPr>
          <a:xfrm>
            <a:off x="12192" y="438776"/>
            <a:ext cx="12179808" cy="4712677"/>
          </a:xfrm>
          <a:prstGeom prst="rect">
            <a:avLst/>
          </a:prstGeom>
          <a:solidFill>
            <a:schemeClr val="tx1"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8156" y="3270882"/>
            <a:ext cx="11562786" cy="142414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CEBA9AB-DA51-4E42-BD7D-611F0F485B5C}"/>
              </a:ext>
            </a:extLst>
          </p:cNvPr>
          <p:cNvCxnSpPr>
            <a:cxnSpLocks/>
          </p:cNvCxnSpPr>
          <p:nvPr userDrawn="1"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D0A23A50-1F24-4E6C-B9DD-E9C7F079E4D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6137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4C1D2502-6D0F-4202-A00D-CDC24D888B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0" y="2155178"/>
            <a:ext cx="11260279" cy="54425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–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F60A7A5-DBE1-4100-B28C-BC6B35FB3A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1C4BE21B-C38B-4A0F-9DC7-142BCF9747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E40B0ED-A9F2-4C94-98FF-924299A8C3C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F2D4330B-72BA-4E47-9EB9-D1419926F8C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B457AA67-0DAE-4E8A-B03D-DBE56C87C68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55172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C6D2406A-2722-4EF1-820F-8707F8A90F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791" y="2155178"/>
            <a:ext cx="553003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8D9C4735-58C7-4EEA-B73F-615981BB8E4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5630140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EC016286-5D8B-40A1-A46E-DD10B2BE98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585586C7-60DD-49B3-BDE8-23ADE4527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ADDE7CB-CF38-49AB-B852-FCDF76B962E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id="{B5D97CDF-8F6D-4696-B7EB-C50BC4E74F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9" name="Slide Number Placeholder 6">
            <a:extLst>
              <a:ext uri="{FF2B5EF4-FFF2-40B4-BE49-F238E27FC236}">
                <a16:creationId xmlns:a16="http://schemas.microsoft.com/office/drawing/2014/main" id="{E13D5DD3-50DE-4DB0-ACFA-498F33D8FEA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0393779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+Picture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5175844-852B-416F-8BD1-E38A3A9BB8E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451914" y="2155178"/>
            <a:ext cx="3295650" cy="31387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C80F846-D540-4105-A3E2-90BBA13E91F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779144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88C2FABF-7C46-4EFF-9A0F-C52DEAAB18A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D7CFE1BD-BF2C-49A5-84F7-38A20C5C85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3A36BE5-967B-47AA-BF1E-9279A4E7E6CA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8142E152-3F97-4638-8AA7-06B7D04E0E0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CFB84014-F165-4052-80A4-C23B25206E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9214675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Picture (2 column)-op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8054AEA1-0156-48E6-AC30-EF81FB7616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3550" y="2155178"/>
            <a:ext cx="3295650" cy="315600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3AED9CCB-BCE8-4297-9303-041507E795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9839" y="2155181"/>
            <a:ext cx="7403989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2711701B-F339-4142-B879-9B35EA158B5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6AD53723-B9C5-414F-85A1-65DBCC0937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FE19ACC-5045-4206-B51B-65F10EAD447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59D56AD6-CA18-4B00-AE08-53FA7B6E78E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820780CB-C749-4877-B426-B8E29F3CCF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622543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icons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8E432B7-1F4C-4CFF-8575-E7CFC58E86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3549" y="3871348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108C5A5-7E2D-4FB4-98C2-927BD247384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47754" y="3868034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2">
            <a:extLst>
              <a:ext uri="{FF2B5EF4-FFF2-40B4-BE49-F238E27FC236}">
                <a16:creationId xmlns:a16="http://schemas.microsoft.com/office/drawing/2014/main" id="{E40A23F4-FDD3-48F8-AD63-94B0943EBDD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31959" y="3864720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710F5905-35BB-40BD-89AB-6B98D538DE2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316164" y="3856767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2">
            <a:extLst>
              <a:ext uri="{FF2B5EF4-FFF2-40B4-BE49-F238E27FC236}">
                <a16:creationId xmlns:a16="http://schemas.microsoft.com/office/drawing/2014/main" id="{6BF555FD-AC31-4E9A-8B25-DE18FCE3216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600369" y="3858092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3F997A-CEF0-4FB0-BD9D-FAF8B63D8C3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0CC00FA0-254C-483F-94C2-AA94DE42F1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5861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BFCE74B-C4D4-47D2-A481-128353F2CC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73001" y="2647398"/>
            <a:ext cx="892141" cy="892141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D9B08A19-CB31-42C0-84A3-18B45AE9A63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27026" y="2702322"/>
            <a:ext cx="952500" cy="9525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551E54F5-4A7D-4D54-BF86-6FCE1BC29BA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791669" y="2798555"/>
            <a:ext cx="760034" cy="760034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4B1F42F0-253D-4D7C-910C-9305E9B612F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75874" y="2798555"/>
            <a:ext cx="760034" cy="760034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id="{18C3C4C7-BCA6-40A1-A61A-CC7CBC9BA961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507464" y="2779505"/>
            <a:ext cx="760034" cy="760034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1298D07-C6D5-44F3-95AB-BD602D8D24F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phic 21">
            <a:extLst>
              <a:ext uri="{FF2B5EF4-FFF2-40B4-BE49-F238E27FC236}">
                <a16:creationId xmlns:a16="http://schemas.microsoft.com/office/drawing/2014/main" id="{5D0D9C79-7BAF-4040-8366-E804E2943CDF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28" name="Slide Number Placeholder 6">
            <a:extLst>
              <a:ext uri="{FF2B5EF4-FFF2-40B4-BE49-F238E27FC236}">
                <a16:creationId xmlns:a16="http://schemas.microsoft.com/office/drawing/2014/main" id="{6F8B5DF7-4E33-4363-A243-3363920EADD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8696234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056333D-029F-4CEB-88B9-16360ABAFE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07382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056333D-029F-4CEB-88B9-16360ABAFE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9887C6-213D-4EC5-B285-03E99B6517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1456809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0826BC-C5B4-4A35-8F7C-44247491A7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97032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65" r:id="rId3"/>
    <p:sldLayoutId id="2147483652" r:id="rId4"/>
    <p:sldLayoutId id="2147483655" r:id="rId5"/>
    <p:sldLayoutId id="2147483650" r:id="rId6"/>
    <p:sldLayoutId id="2147483658" r:id="rId7"/>
    <p:sldLayoutId id="2147483651" r:id="rId8"/>
    <p:sldLayoutId id="2147483653" r:id="rId9"/>
    <p:sldLayoutId id="2147483654" r:id="rId10"/>
    <p:sldLayoutId id="2147483657" r:id="rId11"/>
    <p:sldLayoutId id="2147483664" r:id="rId12"/>
    <p:sldLayoutId id="2147483666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7" Type="http://schemas.openxmlformats.org/officeDocument/2006/relationships/image" Target="../media/image32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openxmlformats.org/officeDocument/2006/relationships/image" Target="../media/image2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7" Type="http://schemas.openxmlformats.org/officeDocument/2006/relationships/image" Target="../media/image35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image" Target="../media/image34.svg"/><Relationship Id="rId5" Type="http://schemas.openxmlformats.org/officeDocument/2006/relationships/image" Target="../media/image33.png"/><Relationship Id="rId4" Type="http://schemas.openxmlformats.org/officeDocument/2006/relationships/image" Target="../media/image2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7" Type="http://schemas.openxmlformats.org/officeDocument/2006/relationships/image" Target="../media/image3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6" Type="http://schemas.openxmlformats.org/officeDocument/2006/relationships/image" Target="../media/image34.svg"/><Relationship Id="rId5" Type="http://schemas.openxmlformats.org/officeDocument/2006/relationships/image" Target="../media/image33.png"/><Relationship Id="rId4" Type="http://schemas.openxmlformats.org/officeDocument/2006/relationships/image" Target="../media/image2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7" Type="http://schemas.openxmlformats.org/officeDocument/2006/relationships/image" Target="../media/image37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6" Type="http://schemas.openxmlformats.org/officeDocument/2006/relationships/image" Target="../media/image34.svg"/><Relationship Id="rId5" Type="http://schemas.openxmlformats.org/officeDocument/2006/relationships/image" Target="../media/image33.png"/><Relationship Id="rId4" Type="http://schemas.openxmlformats.org/officeDocument/2006/relationships/image" Target="../media/image2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sv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6" Type="http://schemas.openxmlformats.org/officeDocument/2006/relationships/image" Target="../media/image39.svg"/><Relationship Id="rId5" Type="http://schemas.openxmlformats.org/officeDocument/2006/relationships/image" Target="../media/image38.png"/><Relationship Id="rId4" Type="http://schemas.openxmlformats.org/officeDocument/2006/relationships/image" Target="../media/image21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7" Type="http://schemas.openxmlformats.org/officeDocument/2006/relationships/image" Target="../media/image42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6" Type="http://schemas.openxmlformats.org/officeDocument/2006/relationships/image" Target="../media/image41.svg"/><Relationship Id="rId5" Type="http://schemas.openxmlformats.org/officeDocument/2006/relationships/image" Target="../media/image40.png"/><Relationship Id="rId4" Type="http://schemas.openxmlformats.org/officeDocument/2006/relationships/image" Target="../media/image21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6" Type="http://schemas.openxmlformats.org/officeDocument/2006/relationships/image" Target="../media/image44.svg"/><Relationship Id="rId5" Type="http://schemas.openxmlformats.org/officeDocument/2006/relationships/image" Target="../media/image43.png"/><Relationship Id="rId4" Type="http://schemas.openxmlformats.org/officeDocument/2006/relationships/image" Target="../media/image2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5" Type="http://schemas.openxmlformats.org/officeDocument/2006/relationships/image" Target="../media/image22.jpeg"/><Relationship Id="rId4" Type="http://schemas.openxmlformats.org/officeDocument/2006/relationships/image" Target="../media/image21.emf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25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26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2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7" Type="http://schemas.openxmlformats.org/officeDocument/2006/relationships/image" Target="../media/image3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openxmlformats.org/officeDocument/2006/relationships/image" Target="../media/image2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7" Type="http://schemas.openxmlformats.org/officeDocument/2006/relationships/image" Target="../media/image3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openxmlformats.org/officeDocument/2006/relationships/image" Target="../media/image2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37A4A8-A3C7-407F-B123-88E2E165C8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84269" y="3003335"/>
            <a:ext cx="10525125" cy="1200329"/>
          </a:xfrm>
        </p:spPr>
        <p:txBody>
          <a:bodyPr anchor="b">
            <a:spAutoFit/>
          </a:bodyPr>
          <a:lstStyle/>
          <a:p>
            <a:r>
              <a:rPr lang="en-US" sz="4000" dirty="0"/>
              <a:t>Shell Bootcamp 2024</a:t>
            </a:r>
            <a:br>
              <a:rPr lang="en-US" sz="4000" dirty="0"/>
            </a:br>
            <a:r>
              <a:rPr lang="en-US" sz="4000" dirty="0"/>
              <a:t>3 Reflections for Week #2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A24547F-8A92-CDC5-A578-3733390534F2}"/>
              </a:ext>
            </a:extLst>
          </p:cNvPr>
          <p:cNvSpPr txBox="1"/>
          <p:nvPr/>
        </p:nvSpPr>
        <p:spPr>
          <a:xfrm>
            <a:off x="684269" y="4795291"/>
            <a:ext cx="829918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Vainavi Saman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48F8DD6-A1B3-8126-FAC3-218B712C7FFB}"/>
              </a:ext>
            </a:extLst>
          </p:cNvPr>
          <p:cNvSpPr txBox="1"/>
          <p:nvPr/>
        </p:nvSpPr>
        <p:spPr>
          <a:xfrm>
            <a:off x="759976" y="5510636"/>
            <a:ext cx="74696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800" b="1" dirty="0">
                <a:solidFill>
                  <a:schemeClr val="bg1"/>
                </a:solidFill>
              </a:rPr>
              <a:t>Date : 30-Aug-2024</a:t>
            </a:r>
          </a:p>
        </p:txBody>
      </p:sp>
    </p:spTree>
    <p:extLst>
      <p:ext uri="{BB962C8B-B14F-4D97-AF65-F5344CB8AC3E}">
        <p14:creationId xmlns:p14="http://schemas.microsoft.com/office/powerpoint/2010/main" val="3267775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34469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3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0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/>
              <a:t>Business Analysis helps make informed decision making, greater revenue can be generated because of it. </a:t>
            </a:r>
            <a:r>
              <a:rPr lang="en-US" sz="20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Iterative set of activities that help ensure that elicitation, documentation, refinement, and changes of requirements is adequately dealt with during a lifecycle.</a:t>
            </a:r>
          </a:p>
          <a:p>
            <a:pPr marL="0" indent="0">
              <a:buNone/>
            </a:pPr>
            <a:r>
              <a:rPr lang="en-US" sz="20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Reduces cost, improves quality, decreases time taken, decreases risks, increased flexibility, continuous improvement are some benefits from AGILE. Shell follows a scrum based AGILE method which has a high efficiency of work done.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pic>
        <p:nvPicPr>
          <p:cNvPr id="3074" name="Picture 2" descr="Excelling in Software Development with Scrum Methodology Part 2 | by Tokay  Korkut | Stackademic">
            <a:extLst>
              <a:ext uri="{FF2B5EF4-FFF2-40B4-BE49-F238E27FC236}">
                <a16:creationId xmlns:a16="http://schemas.microsoft.com/office/drawing/2014/main" id="{16CED5B7-0C47-DD38-9EE0-CE7BC59820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22181" y="2719256"/>
            <a:ext cx="4886168" cy="28200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636692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Challenges in implementing learning</a:t>
            </a:r>
            <a:endParaRPr lang="en-IN" sz="4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F2FEB897-CC3D-F8EF-554F-5F219373693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6726" y="2866221"/>
            <a:ext cx="1125557" cy="1125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361709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3078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1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2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Everyone was new and shy so no one was ready to share. But because of the activities, people started gelling with each other. Some parts were a bit long but were conveyed in a fun and understanding manner. 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pic>
        <p:nvPicPr>
          <p:cNvPr id="7170" name="Picture 2" descr="Creative business team brainstorming and ideating for innovative projects.  Generative AI Stock Illustration | Adobe Stock">
            <a:extLst>
              <a:ext uri="{FF2B5EF4-FFF2-40B4-BE49-F238E27FC236}">
                <a16:creationId xmlns:a16="http://schemas.microsoft.com/office/drawing/2014/main" id="{1071F8FC-2E6F-BC1F-42B4-195E41A30B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9267" y="2324621"/>
            <a:ext cx="4826883" cy="32195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4094418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26476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2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3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Stakeholder Management was a difficult topic to understand. But with the help of multiple activities about it, it was easy to understand the practical use of the same.</a:t>
            </a:r>
          </a:p>
          <a:p>
            <a:pPr marL="0" indent="0">
              <a:buNone/>
            </a:pPr>
            <a:r>
              <a:rPr lang="en-US" sz="2000" dirty="0"/>
              <a:t> Teamwork activities were challenging in the beginning but helped nurture a bond. </a:t>
            </a:r>
          </a:p>
          <a:p>
            <a:pPr marL="0" indent="0">
              <a:buNone/>
            </a:pP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pic>
        <p:nvPicPr>
          <p:cNvPr id="8194" name="Picture 2" descr="Is Boredom a Bad Thing — Empowering ...">
            <a:extLst>
              <a:ext uri="{FF2B5EF4-FFF2-40B4-BE49-F238E27FC236}">
                <a16:creationId xmlns:a16="http://schemas.microsoft.com/office/drawing/2014/main" id="{C3444FF7-86B8-122C-9072-5058518823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6729" y="2482595"/>
            <a:ext cx="4599644" cy="2830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5914825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76622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3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4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Though I have done BA and Agile in college, it was a nice recap in the bootcamp. The concepts sounded heavy at first but were conveyed in a very easy manner. It does take some time to get through it in detail but it is necessary.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pic>
        <p:nvPicPr>
          <p:cNvPr id="9218" name="Picture 2" descr="Importance of Having a Technical Team ...">
            <a:extLst>
              <a:ext uri="{FF2B5EF4-FFF2-40B4-BE49-F238E27FC236}">
                <a16:creationId xmlns:a16="http://schemas.microsoft.com/office/drawing/2014/main" id="{9F868D45-068B-3557-2F0C-817C4F97ED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16918" y="2609347"/>
            <a:ext cx="4950408" cy="25786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7020408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Action Plan</a:t>
            </a:r>
            <a:endParaRPr lang="en-IN" sz="4000" dirty="0"/>
          </a:p>
        </p:txBody>
      </p:sp>
      <p:pic>
        <p:nvPicPr>
          <p:cNvPr id="4" name="Graphic 3" descr="Steps icon">
            <a:extLst>
              <a:ext uri="{FF2B5EF4-FFF2-40B4-BE49-F238E27FC236}">
                <a16:creationId xmlns:a16="http://schemas.microsoft.com/office/drawing/2014/main" id="{B5F8A401-110E-E4BD-2FD5-DBD699116CE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92471" y="2893076"/>
            <a:ext cx="1049813" cy="1049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4341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67996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My Action Plan for this Week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6</a:t>
            </a:fld>
            <a:endParaRPr lang="en-IN" dirty="0"/>
          </a:p>
        </p:txBody>
      </p:sp>
      <p:pic>
        <p:nvPicPr>
          <p:cNvPr id="5" name="Graphic 4" descr="Steps icon">
            <a:extLst>
              <a:ext uri="{FF2B5EF4-FFF2-40B4-BE49-F238E27FC236}">
                <a16:creationId xmlns:a16="http://schemas.microsoft.com/office/drawing/2014/main" id="{B5EEB56D-B388-3B36-90D7-E1D1797C4F6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001613" y="206613"/>
            <a:ext cx="1049813" cy="1049813"/>
          </a:xfrm>
          <a:prstGeom prst="rect">
            <a:avLst/>
          </a:prstGeom>
        </p:spPr>
      </p:pic>
      <p:sp>
        <p:nvSpPr>
          <p:cNvPr id="18" name="Text Placeholder 25">
            <a:extLst>
              <a:ext uri="{FF2B5EF4-FFF2-40B4-BE49-F238E27FC236}">
                <a16:creationId xmlns:a16="http://schemas.microsoft.com/office/drawing/2014/main" id="{6C73795A-BE20-7075-E9C6-6F145CE60794}"/>
              </a:ext>
            </a:extLst>
          </p:cNvPr>
          <p:cNvSpPr txBox="1">
            <a:spLocks/>
          </p:cNvSpPr>
          <p:nvPr/>
        </p:nvSpPr>
        <p:spPr>
          <a:xfrm>
            <a:off x="825971" y="1963738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oing through the concepts taught in Business analysis</a:t>
            </a:r>
          </a:p>
          <a:p>
            <a:pPr algn="ctr"/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Understand Agile process and scrum workflow</a:t>
            </a:r>
          </a:p>
          <a:p>
            <a:pPr algn="ctr"/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actice DBMS</a:t>
            </a:r>
          </a:p>
        </p:txBody>
      </p:sp>
      <p:sp>
        <p:nvSpPr>
          <p:cNvPr id="19" name="Text Placeholder 32">
            <a:extLst>
              <a:ext uri="{FF2B5EF4-FFF2-40B4-BE49-F238E27FC236}">
                <a16:creationId xmlns:a16="http://schemas.microsoft.com/office/drawing/2014/main" id="{A3E2F4D1-4417-E244-3DB9-A6FF5866A342}"/>
              </a:ext>
            </a:extLst>
          </p:cNvPr>
          <p:cNvSpPr txBox="1">
            <a:spLocks/>
          </p:cNvSpPr>
          <p:nvPr/>
        </p:nvSpPr>
        <p:spPr>
          <a:xfrm>
            <a:off x="4104451" y="1950811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aturday- Go through the Soft skills concepts</a:t>
            </a:r>
          </a:p>
          <a:p>
            <a:pPr marL="0" indent="0" algn="ctr">
              <a:buNone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unday- Brush-up the concepts taught in Business Analysis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</a:p>
        </p:txBody>
      </p:sp>
      <p:sp>
        <p:nvSpPr>
          <p:cNvPr id="20" name="Text Placeholder 33">
            <a:extLst>
              <a:ext uri="{FF2B5EF4-FFF2-40B4-BE49-F238E27FC236}">
                <a16:creationId xmlns:a16="http://schemas.microsoft.com/office/drawing/2014/main" id="{3EBEB0AC-D407-44FD-A74F-90F67F3D13C3}"/>
              </a:ext>
            </a:extLst>
          </p:cNvPr>
          <p:cNvSpPr txBox="1">
            <a:spLocks/>
          </p:cNvSpPr>
          <p:nvPr/>
        </p:nvSpPr>
        <p:spPr>
          <a:xfrm>
            <a:off x="7379732" y="1945213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tatus of the same by the end of the week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F8FD767-7EE2-8BA3-9320-45A7293391FF}"/>
              </a:ext>
            </a:extLst>
          </p:cNvPr>
          <p:cNvSpPr/>
          <p:nvPr/>
        </p:nvSpPr>
        <p:spPr>
          <a:xfrm>
            <a:off x="825971" y="125642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Action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289516E-B769-4A13-DD90-39AC62DED9BD}"/>
              </a:ext>
            </a:extLst>
          </p:cNvPr>
          <p:cNvSpPr/>
          <p:nvPr/>
        </p:nvSpPr>
        <p:spPr>
          <a:xfrm>
            <a:off x="4104451" y="125642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Timelin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461DDA7-0DFB-87EE-DF38-AA6219713C1B}"/>
              </a:ext>
            </a:extLst>
          </p:cNvPr>
          <p:cNvSpPr/>
          <p:nvPr/>
        </p:nvSpPr>
        <p:spPr>
          <a:xfrm>
            <a:off x="7379732" y="125064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Status</a:t>
            </a:r>
          </a:p>
        </p:txBody>
      </p:sp>
      <p:grpSp>
        <p:nvGrpSpPr>
          <p:cNvPr id="24" name="Group 23" descr="thumbs up icon">
            <a:extLst>
              <a:ext uri="{FF2B5EF4-FFF2-40B4-BE49-F238E27FC236}">
                <a16:creationId xmlns:a16="http://schemas.microsoft.com/office/drawing/2014/main" id="{DCA04876-65F9-DDA2-9E8E-9D570857B2A5}"/>
              </a:ext>
            </a:extLst>
          </p:cNvPr>
          <p:cNvGrpSpPr/>
          <p:nvPr/>
        </p:nvGrpSpPr>
        <p:grpSpPr>
          <a:xfrm>
            <a:off x="10965805" y="2219370"/>
            <a:ext cx="823913" cy="823913"/>
            <a:chOff x="744537" y="2086166"/>
            <a:chExt cx="823913" cy="823913"/>
          </a:xfrm>
          <a:solidFill>
            <a:schemeClr val="bg1"/>
          </a:solidFill>
        </p:grpSpPr>
        <p:sp>
          <p:nvSpPr>
            <p:cNvPr id="25" name="Oval 68">
              <a:extLst>
                <a:ext uri="{FF2B5EF4-FFF2-40B4-BE49-F238E27FC236}">
                  <a16:creationId xmlns:a16="http://schemas.microsoft.com/office/drawing/2014/main" id="{3A38CCAC-78C9-81D4-1E36-CB51C71661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2086166"/>
              <a:ext cx="823913" cy="8239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5715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Open Sans Light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Open Sans Light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sp>
          <p:nvSpPr>
            <p:cNvPr id="26" name="Freeform 65">
              <a:extLst>
                <a:ext uri="{FF2B5EF4-FFF2-40B4-BE49-F238E27FC236}">
                  <a16:creationId xmlns:a16="http://schemas.microsoft.com/office/drawing/2014/main" id="{E083201A-5603-E7AE-C4E0-0A003C89B4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4536" y="2278488"/>
              <a:ext cx="358468" cy="351052"/>
            </a:xfrm>
            <a:custGeom>
              <a:avLst/>
              <a:gdLst>
                <a:gd name="T0" fmla="*/ 358468 w 188"/>
                <a:gd name="T1" fmla="*/ 181250 h 184"/>
                <a:gd name="T2" fmla="*/ 257411 w 188"/>
                <a:gd name="T3" fmla="*/ 135460 h 184"/>
                <a:gd name="T4" fmla="*/ 257411 w 188"/>
                <a:gd name="T5" fmla="*/ 125921 h 184"/>
                <a:gd name="T6" fmla="*/ 286012 w 188"/>
                <a:gd name="T7" fmla="*/ 70592 h 184"/>
                <a:gd name="T8" fmla="*/ 263131 w 188"/>
                <a:gd name="T9" fmla="*/ 5724 h 184"/>
                <a:gd name="T10" fmla="*/ 226903 w 188"/>
                <a:gd name="T11" fmla="*/ 34342 h 184"/>
                <a:gd name="T12" fmla="*/ 179234 w 188"/>
                <a:gd name="T13" fmla="*/ 104934 h 184"/>
                <a:gd name="T14" fmla="*/ 133472 w 188"/>
                <a:gd name="T15" fmla="*/ 175526 h 184"/>
                <a:gd name="T16" fmla="*/ 97244 w 188"/>
                <a:gd name="T17" fmla="*/ 160263 h 184"/>
                <a:gd name="T18" fmla="*/ 0 w 188"/>
                <a:gd name="T19" fmla="*/ 177434 h 184"/>
                <a:gd name="T20" fmla="*/ 17161 w 188"/>
                <a:gd name="T21" fmla="*/ 351052 h 184"/>
                <a:gd name="T22" fmla="*/ 114405 w 188"/>
                <a:gd name="T23" fmla="*/ 337697 h 184"/>
                <a:gd name="T24" fmla="*/ 139192 w 188"/>
                <a:gd name="T25" fmla="*/ 351052 h 184"/>
                <a:gd name="T26" fmla="*/ 143006 w 188"/>
                <a:gd name="T27" fmla="*/ 351052 h 184"/>
                <a:gd name="T28" fmla="*/ 299359 w 188"/>
                <a:gd name="T29" fmla="*/ 351052 h 184"/>
                <a:gd name="T30" fmla="*/ 333680 w 188"/>
                <a:gd name="T31" fmla="*/ 307171 h 184"/>
                <a:gd name="T32" fmla="*/ 343214 w 188"/>
                <a:gd name="T33" fmla="*/ 257565 h 184"/>
                <a:gd name="T34" fmla="*/ 348934 w 188"/>
                <a:gd name="T35" fmla="*/ 206052 h 184"/>
                <a:gd name="T36" fmla="*/ 97244 w 188"/>
                <a:gd name="T37" fmla="*/ 335789 h 184"/>
                <a:gd name="T38" fmla="*/ 15254 w 188"/>
                <a:gd name="T39" fmla="*/ 333881 h 184"/>
                <a:gd name="T40" fmla="*/ 17161 w 188"/>
                <a:gd name="T41" fmla="*/ 175526 h 184"/>
                <a:gd name="T42" fmla="*/ 99151 w 188"/>
                <a:gd name="T43" fmla="*/ 177434 h 184"/>
                <a:gd name="T44" fmla="*/ 335587 w 188"/>
                <a:gd name="T45" fmla="*/ 198421 h 184"/>
                <a:gd name="T46" fmla="*/ 333680 w 188"/>
                <a:gd name="T47" fmla="*/ 209868 h 184"/>
                <a:gd name="T48" fmla="*/ 329867 w 188"/>
                <a:gd name="T49" fmla="*/ 249934 h 184"/>
                <a:gd name="T50" fmla="*/ 327960 w 188"/>
                <a:gd name="T51" fmla="*/ 261381 h 184"/>
                <a:gd name="T52" fmla="*/ 320333 w 188"/>
                <a:gd name="T53" fmla="*/ 297631 h 184"/>
                <a:gd name="T54" fmla="*/ 318426 w 188"/>
                <a:gd name="T55" fmla="*/ 307171 h 184"/>
                <a:gd name="T56" fmla="*/ 299359 w 188"/>
                <a:gd name="T57" fmla="*/ 335789 h 184"/>
                <a:gd name="T58" fmla="*/ 133472 w 188"/>
                <a:gd name="T59" fmla="*/ 330065 h 184"/>
                <a:gd name="T60" fmla="*/ 114405 w 188"/>
                <a:gd name="T61" fmla="*/ 190789 h 184"/>
                <a:gd name="T62" fmla="*/ 137286 w 188"/>
                <a:gd name="T63" fmla="*/ 190789 h 184"/>
                <a:gd name="T64" fmla="*/ 169700 w 188"/>
                <a:gd name="T65" fmla="*/ 152631 h 184"/>
                <a:gd name="T66" fmla="*/ 192581 w 188"/>
                <a:gd name="T67" fmla="*/ 112566 h 184"/>
                <a:gd name="T68" fmla="*/ 247877 w 188"/>
                <a:gd name="T69" fmla="*/ 19079 h 184"/>
                <a:gd name="T70" fmla="*/ 272664 w 188"/>
                <a:gd name="T71" fmla="*/ 66776 h 184"/>
                <a:gd name="T72" fmla="*/ 244063 w 188"/>
                <a:gd name="T73" fmla="*/ 145000 h 184"/>
                <a:gd name="T74" fmla="*/ 308893 w 188"/>
                <a:gd name="T75" fmla="*/ 150723 h 184"/>
                <a:gd name="T76" fmla="*/ 335587 w 188"/>
                <a:gd name="T77" fmla="*/ 198421 h 18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188" h="184">
                  <a:moveTo>
                    <a:pt x="183" y="108"/>
                  </a:moveTo>
                  <a:cubicBezTo>
                    <a:pt x="185" y="105"/>
                    <a:pt x="188" y="101"/>
                    <a:pt x="188" y="95"/>
                  </a:cubicBezTo>
                  <a:cubicBezTo>
                    <a:pt x="188" y="78"/>
                    <a:pt x="172" y="72"/>
                    <a:pt x="163" y="71"/>
                  </a:cubicBezTo>
                  <a:cubicBezTo>
                    <a:pt x="135" y="71"/>
                    <a:pt x="135" y="71"/>
                    <a:pt x="135" y="71"/>
                  </a:cubicBezTo>
                  <a:cubicBezTo>
                    <a:pt x="135" y="71"/>
                    <a:pt x="135" y="71"/>
                    <a:pt x="135" y="71"/>
                  </a:cubicBezTo>
                  <a:cubicBezTo>
                    <a:pt x="133" y="69"/>
                    <a:pt x="135" y="66"/>
                    <a:pt x="135" y="66"/>
                  </a:cubicBezTo>
                  <a:cubicBezTo>
                    <a:pt x="135" y="66"/>
                    <a:pt x="135" y="66"/>
                    <a:pt x="135" y="66"/>
                  </a:cubicBezTo>
                  <a:cubicBezTo>
                    <a:pt x="136" y="66"/>
                    <a:pt x="144" y="55"/>
                    <a:pt x="150" y="37"/>
                  </a:cubicBezTo>
                  <a:cubicBezTo>
                    <a:pt x="157" y="18"/>
                    <a:pt x="140" y="4"/>
                    <a:pt x="139" y="3"/>
                  </a:cubicBezTo>
                  <a:cubicBezTo>
                    <a:pt x="138" y="3"/>
                    <a:pt x="138" y="3"/>
                    <a:pt x="138" y="3"/>
                  </a:cubicBezTo>
                  <a:cubicBezTo>
                    <a:pt x="138" y="3"/>
                    <a:pt x="132" y="0"/>
                    <a:pt x="126" y="4"/>
                  </a:cubicBezTo>
                  <a:cubicBezTo>
                    <a:pt x="122" y="6"/>
                    <a:pt x="119" y="11"/>
                    <a:pt x="119" y="18"/>
                  </a:cubicBezTo>
                  <a:cubicBezTo>
                    <a:pt x="117" y="34"/>
                    <a:pt x="103" y="48"/>
                    <a:pt x="97" y="53"/>
                  </a:cubicBezTo>
                  <a:cubicBezTo>
                    <a:pt x="96" y="54"/>
                    <a:pt x="95" y="54"/>
                    <a:pt x="94" y="55"/>
                  </a:cubicBezTo>
                  <a:cubicBezTo>
                    <a:pt x="90" y="59"/>
                    <a:pt x="85" y="69"/>
                    <a:pt x="82" y="76"/>
                  </a:cubicBezTo>
                  <a:cubicBezTo>
                    <a:pt x="79" y="81"/>
                    <a:pt x="73" y="89"/>
                    <a:pt x="70" y="92"/>
                  </a:cubicBezTo>
                  <a:cubicBezTo>
                    <a:pt x="67" y="92"/>
                    <a:pt x="63" y="92"/>
                    <a:pt x="60" y="92"/>
                  </a:cubicBezTo>
                  <a:cubicBezTo>
                    <a:pt x="59" y="88"/>
                    <a:pt x="55" y="84"/>
                    <a:pt x="51" y="84"/>
                  </a:cubicBezTo>
                  <a:cubicBezTo>
                    <a:pt x="9" y="84"/>
                    <a:pt x="9" y="84"/>
                    <a:pt x="9" y="84"/>
                  </a:cubicBezTo>
                  <a:cubicBezTo>
                    <a:pt x="4" y="84"/>
                    <a:pt x="0" y="88"/>
                    <a:pt x="0" y="93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0" y="180"/>
                    <a:pt x="4" y="184"/>
                    <a:pt x="9" y="184"/>
                  </a:cubicBezTo>
                  <a:cubicBezTo>
                    <a:pt x="51" y="184"/>
                    <a:pt x="51" y="184"/>
                    <a:pt x="51" y="184"/>
                  </a:cubicBezTo>
                  <a:cubicBezTo>
                    <a:pt x="56" y="184"/>
                    <a:pt x="59" y="181"/>
                    <a:pt x="60" y="177"/>
                  </a:cubicBezTo>
                  <a:cubicBezTo>
                    <a:pt x="62" y="177"/>
                    <a:pt x="63" y="175"/>
                    <a:pt x="64" y="175"/>
                  </a:cubicBezTo>
                  <a:cubicBezTo>
                    <a:pt x="65" y="177"/>
                    <a:pt x="67" y="181"/>
                    <a:pt x="73" y="184"/>
                  </a:cubicBezTo>
                  <a:cubicBezTo>
                    <a:pt x="74" y="184"/>
                    <a:pt x="74" y="184"/>
                    <a:pt x="74" y="184"/>
                  </a:cubicBezTo>
                  <a:cubicBezTo>
                    <a:pt x="75" y="184"/>
                    <a:pt x="75" y="184"/>
                    <a:pt x="75" y="184"/>
                  </a:cubicBezTo>
                  <a:cubicBezTo>
                    <a:pt x="75" y="184"/>
                    <a:pt x="103" y="184"/>
                    <a:pt x="129" y="184"/>
                  </a:cubicBezTo>
                  <a:cubicBezTo>
                    <a:pt x="142" y="184"/>
                    <a:pt x="153" y="184"/>
                    <a:pt x="157" y="184"/>
                  </a:cubicBezTo>
                  <a:cubicBezTo>
                    <a:pt x="165" y="184"/>
                    <a:pt x="170" y="180"/>
                    <a:pt x="172" y="177"/>
                  </a:cubicBezTo>
                  <a:cubicBezTo>
                    <a:pt x="176" y="172"/>
                    <a:pt x="176" y="165"/>
                    <a:pt x="175" y="161"/>
                  </a:cubicBezTo>
                  <a:cubicBezTo>
                    <a:pt x="181" y="156"/>
                    <a:pt x="181" y="147"/>
                    <a:pt x="181" y="143"/>
                  </a:cubicBezTo>
                  <a:cubicBezTo>
                    <a:pt x="182" y="140"/>
                    <a:pt x="181" y="138"/>
                    <a:pt x="180" y="135"/>
                  </a:cubicBezTo>
                  <a:cubicBezTo>
                    <a:pt x="183" y="133"/>
                    <a:pt x="186" y="127"/>
                    <a:pt x="186" y="120"/>
                  </a:cubicBezTo>
                  <a:cubicBezTo>
                    <a:pt x="187" y="115"/>
                    <a:pt x="185" y="110"/>
                    <a:pt x="183" y="108"/>
                  </a:cubicBezTo>
                  <a:close/>
                  <a:moveTo>
                    <a:pt x="52" y="175"/>
                  </a:moveTo>
                  <a:cubicBezTo>
                    <a:pt x="52" y="176"/>
                    <a:pt x="52" y="176"/>
                    <a:pt x="51" y="176"/>
                  </a:cubicBezTo>
                  <a:cubicBezTo>
                    <a:pt x="9" y="176"/>
                    <a:pt x="9" y="176"/>
                    <a:pt x="9" y="176"/>
                  </a:cubicBezTo>
                  <a:cubicBezTo>
                    <a:pt x="9" y="176"/>
                    <a:pt x="8" y="176"/>
                    <a:pt x="8" y="175"/>
                  </a:cubicBezTo>
                  <a:cubicBezTo>
                    <a:pt x="8" y="93"/>
                    <a:pt x="8" y="93"/>
                    <a:pt x="8" y="93"/>
                  </a:cubicBezTo>
                  <a:cubicBezTo>
                    <a:pt x="8" y="93"/>
                    <a:pt x="9" y="92"/>
                    <a:pt x="9" y="92"/>
                  </a:cubicBezTo>
                  <a:cubicBezTo>
                    <a:pt x="51" y="92"/>
                    <a:pt x="51" y="92"/>
                    <a:pt x="51" y="92"/>
                  </a:cubicBezTo>
                  <a:cubicBezTo>
                    <a:pt x="52" y="92"/>
                    <a:pt x="52" y="93"/>
                    <a:pt x="52" y="93"/>
                  </a:cubicBezTo>
                  <a:lnTo>
                    <a:pt x="52" y="175"/>
                  </a:lnTo>
                  <a:close/>
                  <a:moveTo>
                    <a:pt x="176" y="104"/>
                  </a:moveTo>
                  <a:cubicBezTo>
                    <a:pt x="172" y="107"/>
                    <a:pt x="172" y="107"/>
                    <a:pt x="172" y="107"/>
                  </a:cubicBezTo>
                  <a:cubicBezTo>
                    <a:pt x="175" y="110"/>
                    <a:pt x="175" y="110"/>
                    <a:pt x="175" y="110"/>
                  </a:cubicBezTo>
                  <a:cubicBezTo>
                    <a:pt x="176" y="111"/>
                    <a:pt x="179" y="114"/>
                    <a:pt x="178" y="120"/>
                  </a:cubicBezTo>
                  <a:cubicBezTo>
                    <a:pt x="178" y="127"/>
                    <a:pt x="173" y="131"/>
                    <a:pt x="173" y="131"/>
                  </a:cubicBezTo>
                  <a:cubicBezTo>
                    <a:pt x="167" y="133"/>
                    <a:pt x="167" y="133"/>
                    <a:pt x="167" y="133"/>
                  </a:cubicBezTo>
                  <a:cubicBezTo>
                    <a:pt x="172" y="137"/>
                    <a:pt x="172" y="137"/>
                    <a:pt x="172" y="137"/>
                  </a:cubicBezTo>
                  <a:cubicBezTo>
                    <a:pt x="172" y="138"/>
                    <a:pt x="174" y="140"/>
                    <a:pt x="173" y="144"/>
                  </a:cubicBezTo>
                  <a:cubicBezTo>
                    <a:pt x="173" y="147"/>
                    <a:pt x="172" y="154"/>
                    <a:pt x="168" y="156"/>
                  </a:cubicBezTo>
                  <a:cubicBezTo>
                    <a:pt x="164" y="158"/>
                    <a:pt x="164" y="158"/>
                    <a:pt x="164" y="158"/>
                  </a:cubicBezTo>
                  <a:cubicBezTo>
                    <a:pt x="167" y="161"/>
                    <a:pt x="167" y="161"/>
                    <a:pt x="167" y="161"/>
                  </a:cubicBezTo>
                  <a:cubicBezTo>
                    <a:pt x="168" y="163"/>
                    <a:pt x="168" y="169"/>
                    <a:pt x="165" y="173"/>
                  </a:cubicBezTo>
                  <a:cubicBezTo>
                    <a:pt x="164" y="175"/>
                    <a:pt x="161" y="176"/>
                    <a:pt x="157" y="176"/>
                  </a:cubicBezTo>
                  <a:cubicBezTo>
                    <a:pt x="144" y="176"/>
                    <a:pt x="84" y="176"/>
                    <a:pt x="76" y="176"/>
                  </a:cubicBezTo>
                  <a:cubicBezTo>
                    <a:pt x="73" y="175"/>
                    <a:pt x="71" y="174"/>
                    <a:pt x="70" y="173"/>
                  </a:cubicBezTo>
                  <a:cubicBezTo>
                    <a:pt x="69" y="172"/>
                    <a:pt x="67" y="167"/>
                    <a:pt x="60" y="167"/>
                  </a:cubicBezTo>
                  <a:cubicBezTo>
                    <a:pt x="60" y="100"/>
                    <a:pt x="60" y="100"/>
                    <a:pt x="60" y="100"/>
                  </a:cubicBezTo>
                  <a:cubicBezTo>
                    <a:pt x="64" y="100"/>
                    <a:pt x="71" y="100"/>
                    <a:pt x="71" y="100"/>
                  </a:cubicBezTo>
                  <a:cubicBezTo>
                    <a:pt x="72" y="100"/>
                    <a:pt x="72" y="100"/>
                    <a:pt x="72" y="100"/>
                  </a:cubicBezTo>
                  <a:cubicBezTo>
                    <a:pt x="74" y="99"/>
                    <a:pt x="74" y="99"/>
                    <a:pt x="74" y="99"/>
                  </a:cubicBezTo>
                  <a:cubicBezTo>
                    <a:pt x="74" y="99"/>
                    <a:pt x="85" y="88"/>
                    <a:pt x="89" y="80"/>
                  </a:cubicBezTo>
                  <a:cubicBezTo>
                    <a:pt x="93" y="72"/>
                    <a:pt x="96" y="63"/>
                    <a:pt x="100" y="61"/>
                  </a:cubicBezTo>
                  <a:cubicBezTo>
                    <a:pt x="100" y="60"/>
                    <a:pt x="101" y="60"/>
                    <a:pt x="101" y="59"/>
                  </a:cubicBezTo>
                  <a:cubicBezTo>
                    <a:pt x="108" y="54"/>
                    <a:pt x="124" y="38"/>
                    <a:pt x="127" y="19"/>
                  </a:cubicBezTo>
                  <a:cubicBezTo>
                    <a:pt x="127" y="14"/>
                    <a:pt x="128" y="12"/>
                    <a:pt x="130" y="10"/>
                  </a:cubicBezTo>
                  <a:cubicBezTo>
                    <a:pt x="132" y="9"/>
                    <a:pt x="134" y="10"/>
                    <a:pt x="135" y="10"/>
                  </a:cubicBezTo>
                  <a:cubicBezTo>
                    <a:pt x="137" y="12"/>
                    <a:pt x="147" y="22"/>
                    <a:pt x="143" y="35"/>
                  </a:cubicBezTo>
                  <a:cubicBezTo>
                    <a:pt x="137" y="51"/>
                    <a:pt x="129" y="61"/>
                    <a:pt x="129" y="61"/>
                  </a:cubicBezTo>
                  <a:cubicBezTo>
                    <a:pt x="127" y="64"/>
                    <a:pt x="124" y="70"/>
                    <a:pt x="128" y="76"/>
                  </a:cubicBezTo>
                  <a:cubicBezTo>
                    <a:pt x="130" y="79"/>
                    <a:pt x="133" y="79"/>
                    <a:pt x="135" y="79"/>
                  </a:cubicBezTo>
                  <a:cubicBezTo>
                    <a:pt x="162" y="79"/>
                    <a:pt x="162" y="79"/>
                    <a:pt x="162" y="79"/>
                  </a:cubicBezTo>
                  <a:cubicBezTo>
                    <a:pt x="163" y="79"/>
                    <a:pt x="180" y="81"/>
                    <a:pt x="180" y="95"/>
                  </a:cubicBezTo>
                  <a:cubicBezTo>
                    <a:pt x="180" y="101"/>
                    <a:pt x="176" y="104"/>
                    <a:pt x="176" y="104"/>
                  </a:cubicBezTo>
                  <a:close/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27" name="Group 26" descr="clock icon">
            <a:extLst>
              <a:ext uri="{FF2B5EF4-FFF2-40B4-BE49-F238E27FC236}">
                <a16:creationId xmlns:a16="http://schemas.microsoft.com/office/drawing/2014/main" id="{B808CBE1-9B84-7818-F1B7-F6B6847390C9}"/>
              </a:ext>
            </a:extLst>
          </p:cNvPr>
          <p:cNvGrpSpPr/>
          <p:nvPr/>
        </p:nvGrpSpPr>
        <p:grpSpPr>
          <a:xfrm>
            <a:off x="10965805" y="3169273"/>
            <a:ext cx="823913" cy="823912"/>
            <a:chOff x="744537" y="3036069"/>
            <a:chExt cx="823913" cy="823912"/>
          </a:xfrm>
          <a:solidFill>
            <a:schemeClr val="bg1"/>
          </a:solidFill>
        </p:grpSpPr>
        <p:sp>
          <p:nvSpPr>
            <p:cNvPr id="28" name="Oval 68">
              <a:extLst>
                <a:ext uri="{FF2B5EF4-FFF2-40B4-BE49-F238E27FC236}">
                  <a16:creationId xmlns:a16="http://schemas.microsoft.com/office/drawing/2014/main" id="{0D5B9A7E-609B-61CB-6B76-65F108A044F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3036069"/>
              <a:ext cx="823913" cy="823912"/>
            </a:xfrm>
            <a:prstGeom prst="ellipse">
              <a:avLst/>
            </a:prstGeom>
            <a:grpFill/>
            <a:ln>
              <a:noFill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Open Sans Light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Open Sans Light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grpSp>
          <p:nvGrpSpPr>
            <p:cNvPr id="29" name="Group 28" descr="Clock">
              <a:extLst>
                <a:ext uri="{FF2B5EF4-FFF2-40B4-BE49-F238E27FC236}">
                  <a16:creationId xmlns:a16="http://schemas.microsoft.com/office/drawing/2014/main" id="{1C95187E-2D4F-6A0D-B336-8B096F1468D7}"/>
                </a:ext>
              </a:extLst>
            </p:cNvPr>
            <p:cNvGrpSpPr/>
            <p:nvPr/>
          </p:nvGrpSpPr>
          <p:grpSpPr bwMode="auto">
            <a:xfrm>
              <a:off x="982527" y="3270522"/>
              <a:ext cx="343634" cy="344872"/>
              <a:chOff x="9155465" y="4372601"/>
              <a:chExt cx="343634" cy="344872"/>
            </a:xfrm>
            <a:grpFill/>
          </p:grpSpPr>
          <p:sp>
            <p:nvSpPr>
              <p:cNvPr id="30" name="Freeform 158">
                <a:extLst>
                  <a:ext uri="{FF2B5EF4-FFF2-40B4-BE49-F238E27FC236}">
                    <a16:creationId xmlns:a16="http://schemas.microsoft.com/office/drawing/2014/main" id="{6A73770E-F6A1-75D7-11EF-CB4EC6F3B33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379198" y="4372601"/>
                <a:ext cx="119901" cy="101360"/>
              </a:xfrm>
              <a:custGeom>
                <a:avLst/>
                <a:gdLst>
                  <a:gd name="T0" fmla="*/ 50 w 63"/>
                  <a:gd name="T1" fmla="*/ 53 h 53"/>
                  <a:gd name="T2" fmla="*/ 47 w 63"/>
                  <a:gd name="T3" fmla="*/ 49 h 53"/>
                  <a:gd name="T4" fmla="*/ 4 w 63"/>
                  <a:gd name="T5" fmla="*/ 15 h 53"/>
                  <a:gd name="T6" fmla="*/ 0 w 63"/>
                  <a:gd name="T7" fmla="*/ 14 h 53"/>
                  <a:gd name="T8" fmla="*/ 2 w 63"/>
                  <a:gd name="T9" fmla="*/ 10 h 53"/>
                  <a:gd name="T10" fmla="*/ 19 w 63"/>
                  <a:gd name="T11" fmla="*/ 0 h 53"/>
                  <a:gd name="T12" fmla="*/ 42 w 63"/>
                  <a:gd name="T13" fmla="*/ 11 h 53"/>
                  <a:gd name="T14" fmla="*/ 52 w 63"/>
                  <a:gd name="T15" fmla="*/ 50 h 53"/>
                  <a:gd name="T16" fmla="*/ 50 w 63"/>
                  <a:gd name="T17" fmla="*/ 53 h 53"/>
                  <a:gd name="T18" fmla="*/ 10 w 63"/>
                  <a:gd name="T19" fmla="*/ 11 h 53"/>
                  <a:gd name="T20" fmla="*/ 50 w 63"/>
                  <a:gd name="T21" fmla="*/ 42 h 53"/>
                  <a:gd name="T22" fmla="*/ 39 w 63"/>
                  <a:gd name="T23" fmla="*/ 16 h 53"/>
                  <a:gd name="T24" fmla="*/ 19 w 63"/>
                  <a:gd name="T25" fmla="*/ 6 h 53"/>
                  <a:gd name="T26" fmla="*/ 10 w 63"/>
                  <a:gd name="T27" fmla="*/ 11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3" h="53">
                    <a:moveTo>
                      <a:pt x="50" y="53"/>
                    </a:moveTo>
                    <a:cubicBezTo>
                      <a:pt x="47" y="49"/>
                      <a:pt x="47" y="49"/>
                      <a:pt x="47" y="49"/>
                    </a:cubicBezTo>
                    <a:cubicBezTo>
                      <a:pt x="37" y="33"/>
                      <a:pt x="22" y="21"/>
                      <a:pt x="4" y="15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" y="10"/>
                      <a:pt x="2" y="10"/>
                      <a:pt x="2" y="10"/>
                    </a:cubicBezTo>
                    <a:cubicBezTo>
                      <a:pt x="6" y="5"/>
                      <a:pt x="11" y="0"/>
                      <a:pt x="19" y="0"/>
                    </a:cubicBezTo>
                    <a:cubicBezTo>
                      <a:pt x="26" y="0"/>
                      <a:pt x="33" y="4"/>
                      <a:pt x="42" y="11"/>
                    </a:cubicBezTo>
                    <a:cubicBezTo>
                      <a:pt x="63" y="27"/>
                      <a:pt x="61" y="38"/>
                      <a:pt x="52" y="50"/>
                    </a:cubicBezTo>
                    <a:lnTo>
                      <a:pt x="50" y="53"/>
                    </a:lnTo>
                    <a:close/>
                    <a:moveTo>
                      <a:pt x="10" y="11"/>
                    </a:moveTo>
                    <a:cubicBezTo>
                      <a:pt x="26" y="17"/>
                      <a:pt x="40" y="28"/>
                      <a:pt x="50" y="42"/>
                    </a:cubicBezTo>
                    <a:cubicBezTo>
                      <a:pt x="54" y="36"/>
                      <a:pt x="55" y="29"/>
                      <a:pt x="39" y="16"/>
                    </a:cubicBezTo>
                    <a:cubicBezTo>
                      <a:pt x="30" y="9"/>
                      <a:pt x="24" y="6"/>
                      <a:pt x="19" y="6"/>
                    </a:cubicBezTo>
                    <a:cubicBezTo>
                      <a:pt x="16" y="6"/>
                      <a:pt x="13" y="8"/>
                      <a:pt x="10" y="11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1" name="Freeform 159">
                <a:extLst>
                  <a:ext uri="{FF2B5EF4-FFF2-40B4-BE49-F238E27FC236}">
                    <a16:creationId xmlns:a16="http://schemas.microsoft.com/office/drawing/2014/main" id="{3529665D-D778-71CC-E4C5-628FF603244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55465" y="4372601"/>
                <a:ext cx="119901" cy="101360"/>
              </a:xfrm>
              <a:custGeom>
                <a:avLst/>
                <a:gdLst>
                  <a:gd name="T0" fmla="*/ 13 w 63"/>
                  <a:gd name="T1" fmla="*/ 53 h 53"/>
                  <a:gd name="T2" fmla="*/ 10 w 63"/>
                  <a:gd name="T3" fmla="*/ 50 h 53"/>
                  <a:gd name="T4" fmla="*/ 20 w 63"/>
                  <a:gd name="T5" fmla="*/ 11 h 53"/>
                  <a:gd name="T6" fmla="*/ 44 w 63"/>
                  <a:gd name="T7" fmla="*/ 0 h 53"/>
                  <a:gd name="T8" fmla="*/ 60 w 63"/>
                  <a:gd name="T9" fmla="*/ 10 h 53"/>
                  <a:gd name="T10" fmla="*/ 63 w 63"/>
                  <a:gd name="T11" fmla="*/ 14 h 53"/>
                  <a:gd name="T12" fmla="*/ 59 w 63"/>
                  <a:gd name="T13" fmla="*/ 15 h 53"/>
                  <a:gd name="T14" fmla="*/ 15 w 63"/>
                  <a:gd name="T15" fmla="*/ 49 h 53"/>
                  <a:gd name="T16" fmla="*/ 13 w 63"/>
                  <a:gd name="T17" fmla="*/ 53 h 53"/>
                  <a:gd name="T18" fmla="*/ 44 w 63"/>
                  <a:gd name="T19" fmla="*/ 6 h 53"/>
                  <a:gd name="T20" fmla="*/ 24 w 63"/>
                  <a:gd name="T21" fmla="*/ 16 h 53"/>
                  <a:gd name="T22" fmla="*/ 13 w 63"/>
                  <a:gd name="T23" fmla="*/ 42 h 53"/>
                  <a:gd name="T24" fmla="*/ 53 w 63"/>
                  <a:gd name="T25" fmla="*/ 11 h 53"/>
                  <a:gd name="T26" fmla="*/ 44 w 63"/>
                  <a:gd name="T27" fmla="*/ 6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3" h="53">
                    <a:moveTo>
                      <a:pt x="13" y="53"/>
                    </a:moveTo>
                    <a:cubicBezTo>
                      <a:pt x="10" y="50"/>
                      <a:pt x="10" y="50"/>
                      <a:pt x="10" y="50"/>
                    </a:cubicBezTo>
                    <a:cubicBezTo>
                      <a:pt x="2" y="38"/>
                      <a:pt x="0" y="27"/>
                      <a:pt x="20" y="11"/>
                    </a:cubicBezTo>
                    <a:cubicBezTo>
                      <a:pt x="30" y="4"/>
                      <a:pt x="37" y="0"/>
                      <a:pt x="44" y="0"/>
                    </a:cubicBezTo>
                    <a:cubicBezTo>
                      <a:pt x="51" y="0"/>
                      <a:pt x="56" y="5"/>
                      <a:pt x="60" y="10"/>
                    </a:cubicBezTo>
                    <a:cubicBezTo>
                      <a:pt x="63" y="14"/>
                      <a:pt x="63" y="14"/>
                      <a:pt x="63" y="14"/>
                    </a:cubicBezTo>
                    <a:cubicBezTo>
                      <a:pt x="59" y="15"/>
                      <a:pt x="59" y="15"/>
                      <a:pt x="59" y="15"/>
                    </a:cubicBezTo>
                    <a:cubicBezTo>
                      <a:pt x="41" y="21"/>
                      <a:pt x="26" y="33"/>
                      <a:pt x="15" y="49"/>
                    </a:cubicBezTo>
                    <a:lnTo>
                      <a:pt x="13" y="53"/>
                    </a:lnTo>
                    <a:close/>
                    <a:moveTo>
                      <a:pt x="44" y="6"/>
                    </a:moveTo>
                    <a:cubicBezTo>
                      <a:pt x="39" y="6"/>
                      <a:pt x="32" y="9"/>
                      <a:pt x="24" y="16"/>
                    </a:cubicBezTo>
                    <a:cubicBezTo>
                      <a:pt x="8" y="29"/>
                      <a:pt x="9" y="36"/>
                      <a:pt x="13" y="42"/>
                    </a:cubicBezTo>
                    <a:cubicBezTo>
                      <a:pt x="23" y="28"/>
                      <a:pt x="37" y="17"/>
                      <a:pt x="53" y="11"/>
                    </a:cubicBezTo>
                    <a:cubicBezTo>
                      <a:pt x="50" y="8"/>
                      <a:pt x="47" y="6"/>
                      <a:pt x="44" y="6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2" name="Freeform 160">
                <a:extLst>
                  <a:ext uri="{FF2B5EF4-FFF2-40B4-BE49-F238E27FC236}">
                    <a16:creationId xmlns:a16="http://schemas.microsoft.com/office/drawing/2014/main" id="{1D07999A-0B9E-EABC-79E7-1E3F332E33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96256" y="4671737"/>
                <a:ext cx="43263" cy="44500"/>
              </a:xfrm>
              <a:custGeom>
                <a:avLst/>
                <a:gdLst>
                  <a:gd name="T0" fmla="*/ 6 w 35"/>
                  <a:gd name="T1" fmla="*/ 36 h 36"/>
                  <a:gd name="T2" fmla="*/ 0 w 35"/>
                  <a:gd name="T3" fmla="*/ 30 h 36"/>
                  <a:gd name="T4" fmla="*/ 29 w 35"/>
                  <a:gd name="T5" fmla="*/ 0 h 36"/>
                  <a:gd name="T6" fmla="*/ 35 w 35"/>
                  <a:gd name="T7" fmla="*/ 8 h 36"/>
                  <a:gd name="T8" fmla="*/ 6 w 35"/>
                  <a:gd name="T9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36">
                    <a:moveTo>
                      <a:pt x="6" y="36"/>
                    </a:moveTo>
                    <a:lnTo>
                      <a:pt x="0" y="30"/>
                    </a:lnTo>
                    <a:lnTo>
                      <a:pt x="29" y="0"/>
                    </a:lnTo>
                    <a:lnTo>
                      <a:pt x="35" y="8"/>
                    </a:lnTo>
                    <a:lnTo>
                      <a:pt x="6" y="36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3" name="Freeform 161">
                <a:extLst>
                  <a:ext uri="{FF2B5EF4-FFF2-40B4-BE49-F238E27FC236}">
                    <a16:creationId xmlns:a16="http://schemas.microsoft.com/office/drawing/2014/main" id="{417F16D0-0B89-5C5D-14AF-5F751A829B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3809" y="4671737"/>
                <a:ext cx="45736" cy="45736"/>
              </a:xfrm>
              <a:custGeom>
                <a:avLst/>
                <a:gdLst>
                  <a:gd name="T0" fmla="*/ 29 w 37"/>
                  <a:gd name="T1" fmla="*/ 37 h 37"/>
                  <a:gd name="T2" fmla="*/ 0 w 37"/>
                  <a:gd name="T3" fmla="*/ 8 h 37"/>
                  <a:gd name="T4" fmla="*/ 6 w 37"/>
                  <a:gd name="T5" fmla="*/ 0 h 37"/>
                  <a:gd name="T6" fmla="*/ 37 w 37"/>
                  <a:gd name="T7" fmla="*/ 31 h 37"/>
                  <a:gd name="T8" fmla="*/ 29 w 37"/>
                  <a:gd name="T9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37">
                    <a:moveTo>
                      <a:pt x="29" y="37"/>
                    </a:moveTo>
                    <a:lnTo>
                      <a:pt x="0" y="8"/>
                    </a:lnTo>
                    <a:lnTo>
                      <a:pt x="6" y="0"/>
                    </a:lnTo>
                    <a:lnTo>
                      <a:pt x="37" y="31"/>
                    </a:lnTo>
                    <a:lnTo>
                      <a:pt x="29" y="37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4" name="Freeform 162">
                <a:extLst>
                  <a:ext uri="{FF2B5EF4-FFF2-40B4-BE49-F238E27FC236}">
                    <a16:creationId xmlns:a16="http://schemas.microsoft.com/office/drawing/2014/main" id="{EBCE8487-1B7B-DC4F-4D30-0095CB46F85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67826" y="4397323"/>
                <a:ext cx="320149" cy="320149"/>
              </a:xfrm>
              <a:custGeom>
                <a:avLst/>
                <a:gdLst>
                  <a:gd name="T0" fmla="*/ 84 w 168"/>
                  <a:gd name="T1" fmla="*/ 168 h 168"/>
                  <a:gd name="T2" fmla="*/ 0 w 168"/>
                  <a:gd name="T3" fmla="*/ 84 h 168"/>
                  <a:gd name="T4" fmla="*/ 84 w 168"/>
                  <a:gd name="T5" fmla="*/ 0 h 168"/>
                  <a:gd name="T6" fmla="*/ 168 w 168"/>
                  <a:gd name="T7" fmla="*/ 84 h 168"/>
                  <a:gd name="T8" fmla="*/ 84 w 168"/>
                  <a:gd name="T9" fmla="*/ 168 h 168"/>
                  <a:gd name="T10" fmla="*/ 84 w 168"/>
                  <a:gd name="T11" fmla="*/ 6 h 168"/>
                  <a:gd name="T12" fmla="*/ 6 w 168"/>
                  <a:gd name="T13" fmla="*/ 84 h 168"/>
                  <a:gd name="T14" fmla="*/ 84 w 168"/>
                  <a:gd name="T15" fmla="*/ 162 h 168"/>
                  <a:gd name="T16" fmla="*/ 162 w 168"/>
                  <a:gd name="T17" fmla="*/ 84 h 168"/>
                  <a:gd name="T18" fmla="*/ 84 w 168"/>
                  <a:gd name="T19" fmla="*/ 6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68" h="168">
                    <a:moveTo>
                      <a:pt x="84" y="168"/>
                    </a:moveTo>
                    <a:cubicBezTo>
                      <a:pt x="38" y="168"/>
                      <a:pt x="0" y="131"/>
                      <a:pt x="0" y="84"/>
                    </a:cubicBezTo>
                    <a:cubicBezTo>
                      <a:pt x="0" y="38"/>
                      <a:pt x="38" y="0"/>
                      <a:pt x="84" y="0"/>
                    </a:cubicBezTo>
                    <a:cubicBezTo>
                      <a:pt x="130" y="0"/>
                      <a:pt x="168" y="38"/>
                      <a:pt x="168" y="84"/>
                    </a:cubicBezTo>
                    <a:cubicBezTo>
                      <a:pt x="168" y="131"/>
                      <a:pt x="130" y="168"/>
                      <a:pt x="84" y="168"/>
                    </a:cubicBezTo>
                    <a:close/>
                    <a:moveTo>
                      <a:pt x="84" y="6"/>
                    </a:moveTo>
                    <a:cubicBezTo>
                      <a:pt x="41" y="6"/>
                      <a:pt x="6" y="41"/>
                      <a:pt x="6" y="84"/>
                    </a:cubicBezTo>
                    <a:cubicBezTo>
                      <a:pt x="6" y="127"/>
                      <a:pt x="41" y="162"/>
                      <a:pt x="84" y="162"/>
                    </a:cubicBezTo>
                    <a:cubicBezTo>
                      <a:pt x="127" y="162"/>
                      <a:pt x="162" y="127"/>
                      <a:pt x="162" y="84"/>
                    </a:cubicBezTo>
                    <a:cubicBezTo>
                      <a:pt x="162" y="41"/>
                      <a:pt x="127" y="6"/>
                      <a:pt x="84" y="6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5" name="Freeform 163">
                <a:extLst>
                  <a:ext uri="{FF2B5EF4-FFF2-40B4-BE49-F238E27FC236}">
                    <a16:creationId xmlns:a16="http://schemas.microsoft.com/office/drawing/2014/main" id="{6C353EFD-0A51-247D-9F9E-964856BBE9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34575" y="4446767"/>
                <a:ext cx="100124" cy="126082"/>
              </a:xfrm>
              <a:custGeom>
                <a:avLst/>
                <a:gdLst>
                  <a:gd name="T0" fmla="*/ 81 w 81"/>
                  <a:gd name="T1" fmla="*/ 102 h 102"/>
                  <a:gd name="T2" fmla="*/ 0 w 81"/>
                  <a:gd name="T3" fmla="*/ 102 h 102"/>
                  <a:gd name="T4" fmla="*/ 0 w 81"/>
                  <a:gd name="T5" fmla="*/ 93 h 102"/>
                  <a:gd name="T6" fmla="*/ 72 w 81"/>
                  <a:gd name="T7" fmla="*/ 93 h 102"/>
                  <a:gd name="T8" fmla="*/ 72 w 81"/>
                  <a:gd name="T9" fmla="*/ 0 h 102"/>
                  <a:gd name="T10" fmla="*/ 81 w 81"/>
                  <a:gd name="T11" fmla="*/ 0 h 102"/>
                  <a:gd name="T12" fmla="*/ 81 w 81"/>
                  <a:gd name="T13" fmla="*/ 102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1" h="102">
                    <a:moveTo>
                      <a:pt x="81" y="102"/>
                    </a:moveTo>
                    <a:lnTo>
                      <a:pt x="0" y="102"/>
                    </a:lnTo>
                    <a:lnTo>
                      <a:pt x="0" y="93"/>
                    </a:lnTo>
                    <a:lnTo>
                      <a:pt x="72" y="93"/>
                    </a:lnTo>
                    <a:lnTo>
                      <a:pt x="72" y="0"/>
                    </a:lnTo>
                    <a:lnTo>
                      <a:pt x="81" y="0"/>
                    </a:lnTo>
                    <a:lnTo>
                      <a:pt x="81" y="102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  <p:grpSp>
        <p:nvGrpSpPr>
          <p:cNvPr id="36" name="Group 35" descr="search icon">
            <a:extLst>
              <a:ext uri="{FF2B5EF4-FFF2-40B4-BE49-F238E27FC236}">
                <a16:creationId xmlns:a16="http://schemas.microsoft.com/office/drawing/2014/main" id="{687B6C54-1790-E64F-C35E-76DA0084E125}"/>
              </a:ext>
            </a:extLst>
          </p:cNvPr>
          <p:cNvGrpSpPr/>
          <p:nvPr/>
        </p:nvGrpSpPr>
        <p:grpSpPr>
          <a:xfrm>
            <a:off x="10965805" y="4109091"/>
            <a:ext cx="823913" cy="823912"/>
            <a:chOff x="744537" y="3975887"/>
            <a:chExt cx="823913" cy="823912"/>
          </a:xfrm>
          <a:solidFill>
            <a:schemeClr val="bg1"/>
          </a:solidFill>
        </p:grpSpPr>
        <p:sp>
          <p:nvSpPr>
            <p:cNvPr id="37" name="Oval 68">
              <a:extLst>
                <a:ext uri="{FF2B5EF4-FFF2-40B4-BE49-F238E27FC236}">
                  <a16:creationId xmlns:a16="http://schemas.microsoft.com/office/drawing/2014/main" id="{B380DB8B-E26A-8E61-2773-43637836E1B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3975887"/>
              <a:ext cx="823913" cy="823912"/>
            </a:xfrm>
            <a:prstGeom prst="ellipse">
              <a:avLst/>
            </a:prstGeom>
            <a:grpFill/>
            <a:ln w="57150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grpSp>
          <p:nvGrpSpPr>
            <p:cNvPr id="38" name="Group 37" descr="Unlock">
              <a:extLst>
                <a:ext uri="{FF2B5EF4-FFF2-40B4-BE49-F238E27FC236}">
                  <a16:creationId xmlns:a16="http://schemas.microsoft.com/office/drawing/2014/main" id="{31961FAE-21E7-F95B-70E1-CB3C7A6E0466}"/>
                </a:ext>
              </a:extLst>
            </p:cNvPr>
            <p:cNvGrpSpPr/>
            <p:nvPr/>
          </p:nvGrpSpPr>
          <p:grpSpPr bwMode="auto">
            <a:xfrm>
              <a:off x="993177" y="4210484"/>
              <a:ext cx="360941" cy="337455"/>
              <a:chOff x="6955211" y="4365185"/>
              <a:chExt cx="360941" cy="337455"/>
            </a:xfrm>
            <a:grpFill/>
          </p:grpSpPr>
          <p:sp>
            <p:nvSpPr>
              <p:cNvPr id="39" name="Freeform 188">
                <a:extLst>
                  <a:ext uri="{FF2B5EF4-FFF2-40B4-BE49-F238E27FC236}">
                    <a16:creationId xmlns:a16="http://schemas.microsoft.com/office/drawing/2014/main" id="{EA3947DC-A4F0-4BBD-41F0-EA78C084B8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55211" y="4365185"/>
                <a:ext cx="337455" cy="337455"/>
              </a:xfrm>
              <a:custGeom>
                <a:avLst/>
                <a:gdLst>
                  <a:gd name="T0" fmla="*/ 88 w 177"/>
                  <a:gd name="T1" fmla="*/ 177 h 177"/>
                  <a:gd name="T2" fmla="*/ 26 w 177"/>
                  <a:gd name="T3" fmla="*/ 151 h 177"/>
                  <a:gd name="T4" fmla="*/ 0 w 177"/>
                  <a:gd name="T5" fmla="*/ 89 h 177"/>
                  <a:gd name="T6" fmla="*/ 26 w 177"/>
                  <a:gd name="T7" fmla="*/ 27 h 177"/>
                  <a:gd name="T8" fmla="*/ 88 w 177"/>
                  <a:gd name="T9" fmla="*/ 0 h 177"/>
                  <a:gd name="T10" fmla="*/ 88 w 177"/>
                  <a:gd name="T11" fmla="*/ 0 h 177"/>
                  <a:gd name="T12" fmla="*/ 177 w 177"/>
                  <a:gd name="T13" fmla="*/ 88 h 177"/>
                  <a:gd name="T14" fmla="*/ 171 w 177"/>
                  <a:gd name="T15" fmla="*/ 88 h 177"/>
                  <a:gd name="T16" fmla="*/ 88 w 177"/>
                  <a:gd name="T17" fmla="*/ 6 h 177"/>
                  <a:gd name="T18" fmla="*/ 88 w 177"/>
                  <a:gd name="T19" fmla="*/ 6 h 177"/>
                  <a:gd name="T20" fmla="*/ 30 w 177"/>
                  <a:gd name="T21" fmla="*/ 31 h 177"/>
                  <a:gd name="T22" fmla="*/ 6 w 177"/>
                  <a:gd name="T23" fmla="*/ 89 h 177"/>
                  <a:gd name="T24" fmla="*/ 31 w 177"/>
                  <a:gd name="T25" fmla="*/ 147 h 177"/>
                  <a:gd name="T26" fmla="*/ 88 w 177"/>
                  <a:gd name="T27" fmla="*/ 171 h 177"/>
                  <a:gd name="T28" fmla="*/ 89 w 177"/>
                  <a:gd name="T29" fmla="*/ 171 h 177"/>
                  <a:gd name="T30" fmla="*/ 155 w 177"/>
                  <a:gd name="T31" fmla="*/ 136 h 177"/>
                  <a:gd name="T32" fmla="*/ 160 w 177"/>
                  <a:gd name="T33" fmla="*/ 140 h 177"/>
                  <a:gd name="T34" fmla="*/ 89 w 177"/>
                  <a:gd name="T35" fmla="*/ 177 h 177"/>
                  <a:gd name="T36" fmla="*/ 88 w 177"/>
                  <a:gd name="T37" fmla="*/ 177 h 1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77" h="177">
                    <a:moveTo>
                      <a:pt x="88" y="177"/>
                    </a:moveTo>
                    <a:cubicBezTo>
                      <a:pt x="65" y="177"/>
                      <a:pt x="43" y="168"/>
                      <a:pt x="26" y="151"/>
                    </a:cubicBezTo>
                    <a:cubicBezTo>
                      <a:pt x="10" y="135"/>
                      <a:pt x="0" y="113"/>
                      <a:pt x="0" y="89"/>
                    </a:cubicBezTo>
                    <a:cubicBezTo>
                      <a:pt x="0" y="66"/>
                      <a:pt x="9" y="43"/>
                      <a:pt x="26" y="27"/>
                    </a:cubicBezTo>
                    <a:cubicBezTo>
                      <a:pt x="42" y="10"/>
                      <a:pt x="64" y="1"/>
                      <a:pt x="88" y="0"/>
                    </a:cubicBezTo>
                    <a:cubicBezTo>
                      <a:pt x="88" y="0"/>
                      <a:pt x="88" y="0"/>
                      <a:pt x="88" y="0"/>
                    </a:cubicBezTo>
                    <a:cubicBezTo>
                      <a:pt x="137" y="0"/>
                      <a:pt x="176" y="40"/>
                      <a:pt x="177" y="88"/>
                    </a:cubicBezTo>
                    <a:cubicBezTo>
                      <a:pt x="171" y="88"/>
                      <a:pt x="171" y="88"/>
                      <a:pt x="171" y="88"/>
                    </a:cubicBezTo>
                    <a:cubicBezTo>
                      <a:pt x="170" y="43"/>
                      <a:pt x="133" y="6"/>
                      <a:pt x="88" y="6"/>
                    </a:cubicBezTo>
                    <a:cubicBezTo>
                      <a:pt x="88" y="6"/>
                      <a:pt x="88" y="6"/>
                      <a:pt x="88" y="6"/>
                    </a:cubicBezTo>
                    <a:cubicBezTo>
                      <a:pt x="66" y="7"/>
                      <a:pt x="45" y="15"/>
                      <a:pt x="30" y="31"/>
                    </a:cubicBezTo>
                    <a:cubicBezTo>
                      <a:pt x="14" y="46"/>
                      <a:pt x="6" y="67"/>
                      <a:pt x="6" y="89"/>
                    </a:cubicBezTo>
                    <a:cubicBezTo>
                      <a:pt x="6" y="111"/>
                      <a:pt x="15" y="132"/>
                      <a:pt x="31" y="147"/>
                    </a:cubicBezTo>
                    <a:cubicBezTo>
                      <a:pt x="46" y="162"/>
                      <a:pt x="67" y="171"/>
                      <a:pt x="88" y="171"/>
                    </a:cubicBezTo>
                    <a:cubicBezTo>
                      <a:pt x="88" y="171"/>
                      <a:pt x="89" y="171"/>
                      <a:pt x="89" y="171"/>
                    </a:cubicBezTo>
                    <a:cubicBezTo>
                      <a:pt x="115" y="171"/>
                      <a:pt x="140" y="158"/>
                      <a:pt x="155" y="136"/>
                    </a:cubicBezTo>
                    <a:cubicBezTo>
                      <a:pt x="160" y="140"/>
                      <a:pt x="160" y="140"/>
                      <a:pt x="160" y="140"/>
                    </a:cubicBezTo>
                    <a:cubicBezTo>
                      <a:pt x="144" y="163"/>
                      <a:pt x="117" y="177"/>
                      <a:pt x="89" y="177"/>
                    </a:cubicBezTo>
                    <a:cubicBezTo>
                      <a:pt x="89" y="177"/>
                      <a:pt x="89" y="177"/>
                      <a:pt x="88" y="177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0" name="Freeform 189">
                <a:extLst>
                  <a:ext uri="{FF2B5EF4-FFF2-40B4-BE49-F238E27FC236}">
                    <a16:creationId xmlns:a16="http://schemas.microsoft.com/office/drawing/2014/main" id="{3CF09D77-F139-589A-402B-7F84A00514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41986" y="4491267"/>
                <a:ext cx="74166" cy="66749"/>
              </a:xfrm>
              <a:custGeom>
                <a:avLst/>
                <a:gdLst>
                  <a:gd name="T0" fmla="*/ 0 w 60"/>
                  <a:gd name="T1" fmla="*/ 0 h 54"/>
                  <a:gd name="T2" fmla="*/ 31 w 60"/>
                  <a:gd name="T3" fmla="*/ 54 h 54"/>
                  <a:gd name="T4" fmla="*/ 60 w 60"/>
                  <a:gd name="T5" fmla="*/ 0 h 54"/>
                  <a:gd name="T6" fmla="*/ 0 w 60"/>
                  <a:gd name="T7" fmla="*/ 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0" h="54">
                    <a:moveTo>
                      <a:pt x="0" y="0"/>
                    </a:moveTo>
                    <a:lnTo>
                      <a:pt x="31" y="54"/>
                    </a:lnTo>
                    <a:lnTo>
                      <a:pt x="6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1" name="Freeform 190">
                <a:extLst>
                  <a:ext uri="{FF2B5EF4-FFF2-40B4-BE49-F238E27FC236}">
                    <a16:creationId xmlns:a16="http://schemas.microsoft.com/office/drawing/2014/main" id="{DF1C3F24-8703-6BE4-9364-F8F863E775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77585" y="4452947"/>
                <a:ext cx="91471" cy="76638"/>
              </a:xfrm>
              <a:custGeom>
                <a:avLst/>
                <a:gdLst>
                  <a:gd name="T0" fmla="*/ 1 w 48"/>
                  <a:gd name="T1" fmla="*/ 40 h 40"/>
                  <a:gd name="T2" fmla="*/ 0 w 48"/>
                  <a:gd name="T3" fmla="*/ 24 h 40"/>
                  <a:gd name="T4" fmla="*/ 24 w 48"/>
                  <a:gd name="T5" fmla="*/ 0 h 40"/>
                  <a:gd name="T6" fmla="*/ 48 w 48"/>
                  <a:gd name="T7" fmla="*/ 23 h 40"/>
                  <a:gd name="T8" fmla="*/ 48 w 48"/>
                  <a:gd name="T9" fmla="*/ 40 h 40"/>
                  <a:gd name="T10" fmla="*/ 1 w 48"/>
                  <a:gd name="T11" fmla="*/ 40 h 40"/>
                  <a:gd name="T12" fmla="*/ 24 w 48"/>
                  <a:gd name="T13" fmla="*/ 6 h 40"/>
                  <a:gd name="T14" fmla="*/ 6 w 48"/>
                  <a:gd name="T15" fmla="*/ 24 h 40"/>
                  <a:gd name="T16" fmla="*/ 7 w 48"/>
                  <a:gd name="T17" fmla="*/ 34 h 40"/>
                  <a:gd name="T18" fmla="*/ 42 w 48"/>
                  <a:gd name="T19" fmla="*/ 34 h 40"/>
                  <a:gd name="T20" fmla="*/ 42 w 48"/>
                  <a:gd name="T21" fmla="*/ 23 h 40"/>
                  <a:gd name="T22" fmla="*/ 24 w 48"/>
                  <a:gd name="T23" fmla="*/ 6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8" h="40">
                    <a:moveTo>
                      <a:pt x="1" y="40"/>
                    </a:moveTo>
                    <a:cubicBezTo>
                      <a:pt x="0" y="24"/>
                      <a:pt x="0" y="24"/>
                      <a:pt x="0" y="24"/>
                    </a:cubicBezTo>
                    <a:cubicBezTo>
                      <a:pt x="0" y="11"/>
                      <a:pt x="11" y="0"/>
                      <a:pt x="24" y="0"/>
                    </a:cubicBezTo>
                    <a:cubicBezTo>
                      <a:pt x="37" y="0"/>
                      <a:pt x="48" y="10"/>
                      <a:pt x="48" y="23"/>
                    </a:cubicBezTo>
                    <a:cubicBezTo>
                      <a:pt x="48" y="40"/>
                      <a:pt x="48" y="40"/>
                      <a:pt x="48" y="40"/>
                    </a:cubicBezTo>
                    <a:lnTo>
                      <a:pt x="1" y="40"/>
                    </a:lnTo>
                    <a:close/>
                    <a:moveTo>
                      <a:pt x="24" y="6"/>
                    </a:moveTo>
                    <a:cubicBezTo>
                      <a:pt x="14" y="6"/>
                      <a:pt x="6" y="14"/>
                      <a:pt x="6" y="24"/>
                    </a:cubicBezTo>
                    <a:cubicBezTo>
                      <a:pt x="7" y="34"/>
                      <a:pt x="7" y="34"/>
                      <a:pt x="7" y="34"/>
                    </a:cubicBezTo>
                    <a:cubicBezTo>
                      <a:pt x="42" y="34"/>
                      <a:pt x="42" y="34"/>
                      <a:pt x="42" y="34"/>
                    </a:cubicBezTo>
                    <a:cubicBezTo>
                      <a:pt x="42" y="23"/>
                      <a:pt x="42" y="23"/>
                      <a:pt x="42" y="23"/>
                    </a:cubicBezTo>
                    <a:cubicBezTo>
                      <a:pt x="42" y="14"/>
                      <a:pt x="34" y="6"/>
                      <a:pt x="24" y="6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2" name="Freeform 191">
                <a:extLst>
                  <a:ext uri="{FF2B5EF4-FFF2-40B4-BE49-F238E27FC236}">
                    <a16:creationId xmlns:a16="http://schemas.microsoft.com/office/drawing/2014/main" id="{1DE81C7A-C97B-97B8-B392-DBCDDA5F8A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59043" y="4517225"/>
                <a:ext cx="131026" cy="100124"/>
              </a:xfrm>
              <a:custGeom>
                <a:avLst/>
                <a:gdLst>
                  <a:gd name="T0" fmla="*/ 5 w 69"/>
                  <a:gd name="T1" fmla="*/ 52 h 52"/>
                  <a:gd name="T2" fmla="*/ 5 w 69"/>
                  <a:gd name="T3" fmla="*/ 52 h 52"/>
                  <a:gd name="T4" fmla="*/ 1 w 69"/>
                  <a:gd name="T5" fmla="*/ 47 h 52"/>
                  <a:gd name="T6" fmla="*/ 0 w 69"/>
                  <a:gd name="T7" fmla="*/ 4 h 52"/>
                  <a:gd name="T8" fmla="*/ 5 w 69"/>
                  <a:gd name="T9" fmla="*/ 0 h 52"/>
                  <a:gd name="T10" fmla="*/ 64 w 69"/>
                  <a:gd name="T11" fmla="*/ 0 h 52"/>
                  <a:gd name="T12" fmla="*/ 68 w 69"/>
                  <a:gd name="T13" fmla="*/ 4 h 52"/>
                  <a:gd name="T14" fmla="*/ 69 w 69"/>
                  <a:gd name="T15" fmla="*/ 47 h 52"/>
                  <a:gd name="T16" fmla="*/ 67 w 69"/>
                  <a:gd name="T17" fmla="*/ 50 h 52"/>
                  <a:gd name="T18" fmla="*/ 64 w 69"/>
                  <a:gd name="T19" fmla="*/ 51 h 52"/>
                  <a:gd name="T20" fmla="*/ 5 w 69"/>
                  <a:gd name="T21" fmla="*/ 52 h 52"/>
                  <a:gd name="T22" fmla="*/ 6 w 69"/>
                  <a:gd name="T23" fmla="*/ 6 h 52"/>
                  <a:gd name="T24" fmla="*/ 7 w 69"/>
                  <a:gd name="T25" fmla="*/ 46 h 52"/>
                  <a:gd name="T26" fmla="*/ 62 w 69"/>
                  <a:gd name="T27" fmla="*/ 45 h 52"/>
                  <a:gd name="T28" fmla="*/ 62 w 69"/>
                  <a:gd name="T29" fmla="*/ 6 h 52"/>
                  <a:gd name="T30" fmla="*/ 6 w 69"/>
                  <a:gd name="T31" fmla="*/ 6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9" h="52">
                    <a:moveTo>
                      <a:pt x="5" y="52"/>
                    </a:moveTo>
                    <a:cubicBezTo>
                      <a:pt x="5" y="52"/>
                      <a:pt x="5" y="52"/>
                      <a:pt x="5" y="52"/>
                    </a:cubicBezTo>
                    <a:cubicBezTo>
                      <a:pt x="3" y="52"/>
                      <a:pt x="1" y="50"/>
                      <a:pt x="1" y="47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64" y="0"/>
                      <a:pt x="64" y="0"/>
                      <a:pt x="64" y="0"/>
                    </a:cubicBezTo>
                    <a:cubicBezTo>
                      <a:pt x="66" y="0"/>
                      <a:pt x="68" y="2"/>
                      <a:pt x="68" y="4"/>
                    </a:cubicBezTo>
                    <a:cubicBezTo>
                      <a:pt x="69" y="47"/>
                      <a:pt x="69" y="47"/>
                      <a:pt x="69" y="47"/>
                    </a:cubicBezTo>
                    <a:cubicBezTo>
                      <a:pt x="69" y="48"/>
                      <a:pt x="68" y="49"/>
                      <a:pt x="67" y="50"/>
                    </a:cubicBezTo>
                    <a:cubicBezTo>
                      <a:pt x="66" y="51"/>
                      <a:pt x="65" y="51"/>
                      <a:pt x="64" y="51"/>
                    </a:cubicBezTo>
                    <a:lnTo>
                      <a:pt x="5" y="52"/>
                    </a:lnTo>
                    <a:close/>
                    <a:moveTo>
                      <a:pt x="6" y="6"/>
                    </a:moveTo>
                    <a:cubicBezTo>
                      <a:pt x="7" y="46"/>
                      <a:pt x="7" y="46"/>
                      <a:pt x="7" y="46"/>
                    </a:cubicBezTo>
                    <a:cubicBezTo>
                      <a:pt x="62" y="45"/>
                      <a:pt x="62" y="45"/>
                      <a:pt x="62" y="45"/>
                    </a:cubicBezTo>
                    <a:cubicBezTo>
                      <a:pt x="62" y="6"/>
                      <a:pt x="62" y="6"/>
                      <a:pt x="62" y="6"/>
                    </a:cubicBezTo>
                    <a:lnTo>
                      <a:pt x="6" y="6"/>
                    </a:ln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  <p:grpSp>
        <p:nvGrpSpPr>
          <p:cNvPr id="43" name="Group 42" descr="tools icon">
            <a:extLst>
              <a:ext uri="{FF2B5EF4-FFF2-40B4-BE49-F238E27FC236}">
                <a16:creationId xmlns:a16="http://schemas.microsoft.com/office/drawing/2014/main" id="{3B45C904-9ACC-B1CD-AC94-A5F94AF041AF}"/>
              </a:ext>
            </a:extLst>
          </p:cNvPr>
          <p:cNvGrpSpPr/>
          <p:nvPr/>
        </p:nvGrpSpPr>
        <p:grpSpPr>
          <a:xfrm>
            <a:off x="10934055" y="5079052"/>
            <a:ext cx="823913" cy="823912"/>
            <a:chOff x="712787" y="4945848"/>
            <a:chExt cx="823913" cy="823912"/>
          </a:xfrm>
          <a:solidFill>
            <a:schemeClr val="bg1"/>
          </a:solidFill>
        </p:grpSpPr>
        <p:sp>
          <p:nvSpPr>
            <p:cNvPr id="44" name="Oval 68">
              <a:extLst>
                <a:ext uri="{FF2B5EF4-FFF2-40B4-BE49-F238E27FC236}">
                  <a16:creationId xmlns:a16="http://schemas.microsoft.com/office/drawing/2014/main" id="{30FC6696-8ED2-5800-8AD1-C2F5C1FCEED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2787" y="4945848"/>
              <a:ext cx="823913" cy="823912"/>
            </a:xfrm>
            <a:prstGeom prst="ellipse">
              <a:avLst/>
            </a:prstGeom>
            <a:grpFill/>
            <a:ln w="57150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grpSp>
          <p:nvGrpSpPr>
            <p:cNvPr id="45" name="Group 44" descr="Mechanics">
              <a:extLst>
                <a:ext uri="{FF2B5EF4-FFF2-40B4-BE49-F238E27FC236}">
                  <a16:creationId xmlns:a16="http://schemas.microsoft.com/office/drawing/2014/main" id="{6B0F16DB-169E-EC84-058E-2EA7335875D9}"/>
                </a:ext>
              </a:extLst>
            </p:cNvPr>
            <p:cNvGrpSpPr/>
            <p:nvPr/>
          </p:nvGrpSpPr>
          <p:grpSpPr bwMode="auto">
            <a:xfrm>
              <a:off x="925095" y="5165730"/>
              <a:ext cx="396000" cy="396000"/>
              <a:chOff x="5508977" y="3649484"/>
              <a:chExt cx="331274" cy="323857"/>
            </a:xfrm>
            <a:grpFill/>
          </p:grpSpPr>
          <p:sp>
            <p:nvSpPr>
              <p:cNvPr id="46" name="Freeform 129">
                <a:extLst>
                  <a:ext uri="{FF2B5EF4-FFF2-40B4-BE49-F238E27FC236}">
                    <a16:creationId xmlns:a16="http://schemas.microsoft.com/office/drawing/2014/main" id="{0B8AAE0D-A0CC-6781-4119-45DC8DA00C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78322" y="3828718"/>
                <a:ext cx="161929" cy="144623"/>
              </a:xfrm>
              <a:custGeom>
                <a:avLst/>
                <a:gdLst>
                  <a:gd name="T0" fmla="*/ 60 w 85"/>
                  <a:gd name="T1" fmla="*/ 76 h 76"/>
                  <a:gd name="T2" fmla="*/ 60 w 85"/>
                  <a:gd name="T3" fmla="*/ 76 h 76"/>
                  <a:gd name="T4" fmla="*/ 52 w 85"/>
                  <a:gd name="T5" fmla="*/ 73 h 76"/>
                  <a:gd name="T6" fmla="*/ 0 w 85"/>
                  <a:gd name="T7" fmla="*/ 22 h 76"/>
                  <a:gd name="T8" fmla="*/ 13 w 85"/>
                  <a:gd name="T9" fmla="*/ 9 h 76"/>
                  <a:gd name="T10" fmla="*/ 30 w 85"/>
                  <a:gd name="T11" fmla="*/ 1 h 76"/>
                  <a:gd name="T12" fmla="*/ 33 w 85"/>
                  <a:gd name="T13" fmla="*/ 0 h 76"/>
                  <a:gd name="T14" fmla="*/ 79 w 85"/>
                  <a:gd name="T15" fmla="*/ 46 h 76"/>
                  <a:gd name="T16" fmla="*/ 74 w 85"/>
                  <a:gd name="T17" fmla="*/ 69 h 76"/>
                  <a:gd name="T18" fmla="*/ 60 w 85"/>
                  <a:gd name="T19" fmla="*/ 76 h 76"/>
                  <a:gd name="T20" fmla="*/ 58 w 85"/>
                  <a:gd name="T21" fmla="*/ 68 h 76"/>
                  <a:gd name="T22" fmla="*/ 60 w 85"/>
                  <a:gd name="T23" fmla="*/ 68 h 76"/>
                  <a:gd name="T24" fmla="*/ 68 w 85"/>
                  <a:gd name="T25" fmla="*/ 63 h 76"/>
                  <a:gd name="T26" fmla="*/ 73 w 85"/>
                  <a:gd name="T27" fmla="*/ 52 h 76"/>
                  <a:gd name="T28" fmla="*/ 30 w 85"/>
                  <a:gd name="T29" fmla="*/ 9 h 76"/>
                  <a:gd name="T30" fmla="*/ 18 w 85"/>
                  <a:gd name="T31" fmla="*/ 14 h 76"/>
                  <a:gd name="T32" fmla="*/ 11 w 85"/>
                  <a:gd name="T33" fmla="*/ 21 h 76"/>
                  <a:gd name="T34" fmla="*/ 58 w 85"/>
                  <a:gd name="T35" fmla="*/ 68 h 76"/>
                  <a:gd name="T36" fmla="*/ 58 w 85"/>
                  <a:gd name="T37" fmla="*/ 68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85" h="76">
                    <a:moveTo>
                      <a:pt x="60" y="76"/>
                    </a:moveTo>
                    <a:cubicBezTo>
                      <a:pt x="60" y="76"/>
                      <a:pt x="60" y="76"/>
                      <a:pt x="60" y="76"/>
                    </a:cubicBezTo>
                    <a:cubicBezTo>
                      <a:pt x="55" y="76"/>
                      <a:pt x="52" y="74"/>
                      <a:pt x="52" y="73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4" y="8"/>
                      <a:pt x="17" y="5"/>
                      <a:pt x="30" y="1"/>
                    </a:cubicBezTo>
                    <a:cubicBezTo>
                      <a:pt x="33" y="0"/>
                      <a:pt x="33" y="0"/>
                      <a:pt x="33" y="0"/>
                    </a:cubicBezTo>
                    <a:cubicBezTo>
                      <a:pt x="79" y="46"/>
                      <a:pt x="79" y="46"/>
                      <a:pt x="79" y="46"/>
                    </a:cubicBezTo>
                    <a:cubicBezTo>
                      <a:pt x="82" y="49"/>
                      <a:pt x="85" y="58"/>
                      <a:pt x="74" y="69"/>
                    </a:cubicBezTo>
                    <a:cubicBezTo>
                      <a:pt x="69" y="74"/>
                      <a:pt x="64" y="76"/>
                      <a:pt x="60" y="76"/>
                    </a:cubicBezTo>
                    <a:close/>
                    <a:moveTo>
                      <a:pt x="58" y="68"/>
                    </a:moveTo>
                    <a:cubicBezTo>
                      <a:pt x="58" y="68"/>
                      <a:pt x="58" y="68"/>
                      <a:pt x="60" y="68"/>
                    </a:cubicBezTo>
                    <a:cubicBezTo>
                      <a:pt x="62" y="68"/>
                      <a:pt x="65" y="66"/>
                      <a:pt x="68" y="63"/>
                    </a:cubicBezTo>
                    <a:cubicBezTo>
                      <a:pt x="76" y="56"/>
                      <a:pt x="73" y="52"/>
                      <a:pt x="73" y="52"/>
                    </a:cubicBezTo>
                    <a:cubicBezTo>
                      <a:pt x="30" y="9"/>
                      <a:pt x="30" y="9"/>
                      <a:pt x="30" y="9"/>
                    </a:cubicBezTo>
                    <a:cubicBezTo>
                      <a:pt x="21" y="12"/>
                      <a:pt x="19" y="14"/>
                      <a:pt x="18" y="14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58" y="68"/>
                      <a:pt x="58" y="68"/>
                      <a:pt x="58" y="68"/>
                    </a:cubicBezTo>
                    <a:cubicBezTo>
                      <a:pt x="58" y="68"/>
                      <a:pt x="58" y="68"/>
                      <a:pt x="58" y="68"/>
                    </a:cubicBez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7" name="Freeform 130">
                <a:extLst>
                  <a:ext uri="{FF2B5EF4-FFF2-40B4-BE49-F238E27FC236}">
                    <a16:creationId xmlns:a16="http://schemas.microsoft.com/office/drawing/2014/main" id="{C4AA161E-775B-9704-92E4-4BAC4DDBBBE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08977" y="3649484"/>
                <a:ext cx="154512" cy="153276"/>
              </a:xfrm>
              <a:custGeom>
                <a:avLst/>
                <a:gdLst>
                  <a:gd name="T0" fmla="*/ 65 w 81"/>
                  <a:gd name="T1" fmla="*/ 80 h 80"/>
                  <a:gd name="T2" fmla="*/ 32 w 81"/>
                  <a:gd name="T3" fmla="*/ 47 h 80"/>
                  <a:gd name="T4" fmla="*/ 18 w 81"/>
                  <a:gd name="T5" fmla="*/ 41 h 80"/>
                  <a:gd name="T6" fmla="*/ 0 w 81"/>
                  <a:gd name="T7" fmla="*/ 15 h 80"/>
                  <a:gd name="T8" fmla="*/ 15 w 81"/>
                  <a:gd name="T9" fmla="*/ 0 h 80"/>
                  <a:gd name="T10" fmla="*/ 42 w 81"/>
                  <a:gd name="T11" fmla="*/ 17 h 80"/>
                  <a:gd name="T12" fmla="*/ 48 w 81"/>
                  <a:gd name="T13" fmla="*/ 31 h 80"/>
                  <a:gd name="T14" fmla="*/ 81 w 81"/>
                  <a:gd name="T15" fmla="*/ 64 h 80"/>
                  <a:gd name="T16" fmla="*/ 79 w 81"/>
                  <a:gd name="T17" fmla="*/ 67 h 80"/>
                  <a:gd name="T18" fmla="*/ 74 w 81"/>
                  <a:gd name="T19" fmla="*/ 72 h 80"/>
                  <a:gd name="T20" fmla="*/ 74 w 81"/>
                  <a:gd name="T21" fmla="*/ 73 h 80"/>
                  <a:gd name="T22" fmla="*/ 65 w 81"/>
                  <a:gd name="T23" fmla="*/ 80 h 80"/>
                  <a:gd name="T24" fmla="*/ 23 w 81"/>
                  <a:gd name="T25" fmla="*/ 35 h 80"/>
                  <a:gd name="T26" fmla="*/ 36 w 81"/>
                  <a:gd name="T27" fmla="*/ 41 h 80"/>
                  <a:gd name="T28" fmla="*/ 65 w 81"/>
                  <a:gd name="T29" fmla="*/ 70 h 80"/>
                  <a:gd name="T30" fmla="*/ 69 w 81"/>
                  <a:gd name="T31" fmla="*/ 66 h 80"/>
                  <a:gd name="T32" fmla="*/ 70 w 81"/>
                  <a:gd name="T33" fmla="*/ 65 h 80"/>
                  <a:gd name="T34" fmla="*/ 41 w 81"/>
                  <a:gd name="T35" fmla="*/ 36 h 80"/>
                  <a:gd name="T36" fmla="*/ 35 w 81"/>
                  <a:gd name="T37" fmla="*/ 22 h 80"/>
                  <a:gd name="T38" fmla="*/ 16 w 81"/>
                  <a:gd name="T39" fmla="*/ 10 h 80"/>
                  <a:gd name="T40" fmla="*/ 11 w 81"/>
                  <a:gd name="T41" fmla="*/ 16 h 80"/>
                  <a:gd name="T42" fmla="*/ 23 w 81"/>
                  <a:gd name="T43" fmla="*/ 35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81" h="80">
                    <a:moveTo>
                      <a:pt x="65" y="80"/>
                    </a:moveTo>
                    <a:cubicBezTo>
                      <a:pt x="32" y="47"/>
                      <a:pt x="32" y="47"/>
                      <a:pt x="32" y="47"/>
                    </a:cubicBezTo>
                    <a:cubicBezTo>
                      <a:pt x="18" y="41"/>
                      <a:pt x="18" y="41"/>
                      <a:pt x="18" y="41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42" y="17"/>
                      <a:pt x="42" y="17"/>
                      <a:pt x="42" y="17"/>
                    </a:cubicBezTo>
                    <a:cubicBezTo>
                      <a:pt x="48" y="31"/>
                      <a:pt x="48" y="31"/>
                      <a:pt x="48" y="31"/>
                    </a:cubicBezTo>
                    <a:cubicBezTo>
                      <a:pt x="81" y="64"/>
                      <a:pt x="81" y="64"/>
                      <a:pt x="81" y="64"/>
                    </a:cubicBezTo>
                    <a:cubicBezTo>
                      <a:pt x="79" y="67"/>
                      <a:pt x="79" y="67"/>
                      <a:pt x="79" y="67"/>
                    </a:cubicBezTo>
                    <a:cubicBezTo>
                      <a:pt x="77" y="69"/>
                      <a:pt x="76" y="71"/>
                      <a:pt x="74" y="72"/>
                    </a:cubicBezTo>
                    <a:cubicBezTo>
                      <a:pt x="74" y="73"/>
                      <a:pt x="74" y="73"/>
                      <a:pt x="74" y="73"/>
                    </a:cubicBezTo>
                    <a:lnTo>
                      <a:pt x="65" y="80"/>
                    </a:lnTo>
                    <a:close/>
                    <a:moveTo>
                      <a:pt x="23" y="35"/>
                    </a:moveTo>
                    <a:cubicBezTo>
                      <a:pt x="36" y="41"/>
                      <a:pt x="36" y="41"/>
                      <a:pt x="36" y="41"/>
                    </a:cubicBezTo>
                    <a:cubicBezTo>
                      <a:pt x="65" y="70"/>
                      <a:pt x="65" y="70"/>
                      <a:pt x="65" y="70"/>
                    </a:cubicBezTo>
                    <a:cubicBezTo>
                      <a:pt x="69" y="66"/>
                      <a:pt x="69" y="66"/>
                      <a:pt x="69" y="66"/>
                    </a:cubicBezTo>
                    <a:cubicBezTo>
                      <a:pt x="69" y="66"/>
                      <a:pt x="70" y="65"/>
                      <a:pt x="70" y="65"/>
                    </a:cubicBezTo>
                    <a:cubicBezTo>
                      <a:pt x="41" y="36"/>
                      <a:pt x="41" y="36"/>
                      <a:pt x="41" y="36"/>
                    </a:cubicBezTo>
                    <a:cubicBezTo>
                      <a:pt x="35" y="22"/>
                      <a:pt x="35" y="22"/>
                      <a:pt x="35" y="22"/>
                    </a:cubicBezTo>
                    <a:cubicBezTo>
                      <a:pt x="16" y="10"/>
                      <a:pt x="16" y="10"/>
                      <a:pt x="16" y="10"/>
                    </a:cubicBezTo>
                    <a:cubicBezTo>
                      <a:pt x="11" y="16"/>
                      <a:pt x="11" y="16"/>
                      <a:pt x="11" y="16"/>
                    </a:cubicBezTo>
                    <a:lnTo>
                      <a:pt x="23" y="35"/>
                    </a:ln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8" name="Freeform 131">
                <a:extLst>
                  <a:ext uri="{FF2B5EF4-FFF2-40B4-BE49-F238E27FC236}">
                    <a16:creationId xmlns:a16="http://schemas.microsoft.com/office/drawing/2014/main" id="{CFC8005E-4EBB-D416-EE9D-B4922447812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13921" y="3670498"/>
                <a:ext cx="302844" cy="286775"/>
              </a:xfrm>
              <a:custGeom>
                <a:avLst/>
                <a:gdLst>
                  <a:gd name="T0" fmla="*/ 127 w 159"/>
                  <a:gd name="T1" fmla="*/ 4 h 150"/>
                  <a:gd name="T2" fmla="*/ 140 w 159"/>
                  <a:gd name="T3" fmla="*/ 6 h 150"/>
                  <a:gd name="T4" fmla="*/ 123 w 159"/>
                  <a:gd name="T5" fmla="*/ 13 h 150"/>
                  <a:gd name="T6" fmla="*/ 121 w 159"/>
                  <a:gd name="T7" fmla="*/ 14 h 150"/>
                  <a:gd name="T8" fmla="*/ 121 w 159"/>
                  <a:gd name="T9" fmla="*/ 16 h 150"/>
                  <a:gd name="T10" fmla="*/ 120 w 159"/>
                  <a:gd name="T11" fmla="*/ 23 h 150"/>
                  <a:gd name="T12" fmla="*/ 120 w 159"/>
                  <a:gd name="T13" fmla="*/ 24 h 150"/>
                  <a:gd name="T14" fmla="*/ 120 w 159"/>
                  <a:gd name="T15" fmla="*/ 25 h 150"/>
                  <a:gd name="T16" fmla="*/ 126 w 159"/>
                  <a:gd name="T17" fmla="*/ 39 h 150"/>
                  <a:gd name="T18" fmla="*/ 128 w 159"/>
                  <a:gd name="T19" fmla="*/ 43 h 150"/>
                  <a:gd name="T20" fmla="*/ 131 w 159"/>
                  <a:gd name="T21" fmla="*/ 41 h 150"/>
                  <a:gd name="T22" fmla="*/ 152 w 159"/>
                  <a:gd name="T23" fmla="*/ 32 h 150"/>
                  <a:gd name="T24" fmla="*/ 135 w 159"/>
                  <a:gd name="T25" fmla="*/ 50 h 150"/>
                  <a:gd name="T26" fmla="*/ 132 w 159"/>
                  <a:gd name="T27" fmla="*/ 52 h 150"/>
                  <a:gd name="T28" fmla="*/ 133 w 159"/>
                  <a:gd name="T29" fmla="*/ 56 h 150"/>
                  <a:gd name="T30" fmla="*/ 138 w 159"/>
                  <a:gd name="T31" fmla="*/ 68 h 150"/>
                  <a:gd name="T32" fmla="*/ 90 w 159"/>
                  <a:gd name="T33" fmla="*/ 83 h 150"/>
                  <a:gd name="T34" fmla="*/ 33 w 159"/>
                  <a:gd name="T35" fmla="*/ 142 h 150"/>
                  <a:gd name="T36" fmla="*/ 23 w 159"/>
                  <a:gd name="T37" fmla="*/ 146 h 150"/>
                  <a:gd name="T38" fmla="*/ 15 w 159"/>
                  <a:gd name="T39" fmla="*/ 142 h 150"/>
                  <a:gd name="T40" fmla="*/ 15 w 159"/>
                  <a:gd name="T41" fmla="*/ 123 h 150"/>
                  <a:gd name="T42" fmla="*/ 80 w 159"/>
                  <a:gd name="T43" fmla="*/ 71 h 150"/>
                  <a:gd name="T44" fmla="*/ 80 w 159"/>
                  <a:gd name="T45" fmla="*/ 71 h 150"/>
                  <a:gd name="T46" fmla="*/ 80 w 159"/>
                  <a:gd name="T47" fmla="*/ 70 h 150"/>
                  <a:gd name="T48" fmla="*/ 102 w 159"/>
                  <a:gd name="T49" fmla="*/ 23 h 150"/>
                  <a:gd name="T50" fmla="*/ 104 w 159"/>
                  <a:gd name="T51" fmla="*/ 15 h 150"/>
                  <a:gd name="T52" fmla="*/ 121 w 159"/>
                  <a:gd name="T53" fmla="*/ 4 h 150"/>
                  <a:gd name="T54" fmla="*/ 122 w 159"/>
                  <a:gd name="T55" fmla="*/ 4 h 150"/>
                  <a:gd name="T56" fmla="*/ 127 w 159"/>
                  <a:gd name="T57" fmla="*/ 4 h 150"/>
                  <a:gd name="T58" fmla="*/ 127 w 159"/>
                  <a:gd name="T59" fmla="*/ 4 h 150"/>
                  <a:gd name="T60" fmla="*/ 24 w 159"/>
                  <a:gd name="T61" fmla="*/ 142 h 150"/>
                  <a:gd name="T62" fmla="*/ 31 w 159"/>
                  <a:gd name="T63" fmla="*/ 139 h 150"/>
                  <a:gd name="T64" fmla="*/ 31 w 159"/>
                  <a:gd name="T65" fmla="*/ 125 h 150"/>
                  <a:gd name="T66" fmla="*/ 24 w 159"/>
                  <a:gd name="T67" fmla="*/ 122 h 150"/>
                  <a:gd name="T68" fmla="*/ 17 w 159"/>
                  <a:gd name="T69" fmla="*/ 125 h 150"/>
                  <a:gd name="T70" fmla="*/ 17 w 159"/>
                  <a:gd name="T71" fmla="*/ 139 h 150"/>
                  <a:gd name="T72" fmla="*/ 24 w 159"/>
                  <a:gd name="T73" fmla="*/ 142 h 150"/>
                  <a:gd name="T74" fmla="*/ 127 w 159"/>
                  <a:gd name="T75" fmla="*/ 0 h 150"/>
                  <a:gd name="T76" fmla="*/ 121 w 159"/>
                  <a:gd name="T77" fmla="*/ 0 h 150"/>
                  <a:gd name="T78" fmla="*/ 100 w 159"/>
                  <a:gd name="T79" fmla="*/ 13 h 150"/>
                  <a:gd name="T80" fmla="*/ 77 w 159"/>
                  <a:gd name="T81" fmla="*/ 68 h 150"/>
                  <a:gd name="T82" fmla="*/ 12 w 159"/>
                  <a:gd name="T83" fmla="*/ 120 h 150"/>
                  <a:gd name="T84" fmla="*/ 12 w 159"/>
                  <a:gd name="T85" fmla="*/ 145 h 150"/>
                  <a:gd name="T86" fmla="*/ 23 w 159"/>
                  <a:gd name="T87" fmla="*/ 150 h 150"/>
                  <a:gd name="T88" fmla="*/ 36 w 159"/>
                  <a:gd name="T89" fmla="*/ 145 h 150"/>
                  <a:gd name="T90" fmla="*/ 93 w 159"/>
                  <a:gd name="T91" fmla="*/ 85 h 150"/>
                  <a:gd name="T92" fmla="*/ 144 w 159"/>
                  <a:gd name="T93" fmla="*/ 71 h 150"/>
                  <a:gd name="T94" fmla="*/ 137 w 159"/>
                  <a:gd name="T95" fmla="*/ 54 h 150"/>
                  <a:gd name="T96" fmla="*/ 159 w 159"/>
                  <a:gd name="T97" fmla="*/ 25 h 150"/>
                  <a:gd name="T98" fmla="*/ 130 w 159"/>
                  <a:gd name="T99" fmla="*/ 37 h 150"/>
                  <a:gd name="T100" fmla="*/ 124 w 159"/>
                  <a:gd name="T101" fmla="*/ 24 h 150"/>
                  <a:gd name="T102" fmla="*/ 125 w 159"/>
                  <a:gd name="T103" fmla="*/ 17 h 150"/>
                  <a:gd name="T104" fmla="*/ 149 w 159"/>
                  <a:gd name="T105" fmla="*/ 6 h 150"/>
                  <a:gd name="T106" fmla="*/ 127 w 159"/>
                  <a:gd name="T107" fmla="*/ 0 h 150"/>
                  <a:gd name="T108" fmla="*/ 24 w 159"/>
                  <a:gd name="T109" fmla="*/ 138 h 150"/>
                  <a:gd name="T110" fmla="*/ 20 w 159"/>
                  <a:gd name="T111" fmla="*/ 136 h 150"/>
                  <a:gd name="T112" fmla="*/ 20 w 159"/>
                  <a:gd name="T113" fmla="*/ 128 h 150"/>
                  <a:gd name="T114" fmla="*/ 24 w 159"/>
                  <a:gd name="T115" fmla="*/ 126 h 150"/>
                  <a:gd name="T116" fmla="*/ 29 w 159"/>
                  <a:gd name="T117" fmla="*/ 128 h 150"/>
                  <a:gd name="T118" fmla="*/ 29 w 159"/>
                  <a:gd name="T119" fmla="*/ 136 h 150"/>
                  <a:gd name="T120" fmla="*/ 24 w 159"/>
                  <a:gd name="T121" fmla="*/ 138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59" h="150">
                    <a:moveTo>
                      <a:pt x="127" y="4"/>
                    </a:moveTo>
                    <a:cubicBezTo>
                      <a:pt x="132" y="4"/>
                      <a:pt x="136" y="5"/>
                      <a:pt x="140" y="6"/>
                    </a:cubicBezTo>
                    <a:cubicBezTo>
                      <a:pt x="123" y="13"/>
                      <a:pt x="123" y="13"/>
                      <a:pt x="123" y="13"/>
                    </a:cubicBezTo>
                    <a:cubicBezTo>
                      <a:pt x="121" y="14"/>
                      <a:pt x="121" y="14"/>
                      <a:pt x="121" y="14"/>
                    </a:cubicBezTo>
                    <a:cubicBezTo>
                      <a:pt x="121" y="16"/>
                      <a:pt x="121" y="16"/>
                      <a:pt x="121" y="16"/>
                    </a:cubicBezTo>
                    <a:cubicBezTo>
                      <a:pt x="120" y="23"/>
                      <a:pt x="120" y="23"/>
                      <a:pt x="120" y="23"/>
                    </a:cubicBezTo>
                    <a:cubicBezTo>
                      <a:pt x="120" y="24"/>
                      <a:pt x="120" y="24"/>
                      <a:pt x="120" y="24"/>
                    </a:cubicBezTo>
                    <a:cubicBezTo>
                      <a:pt x="120" y="25"/>
                      <a:pt x="120" y="25"/>
                      <a:pt x="120" y="25"/>
                    </a:cubicBezTo>
                    <a:cubicBezTo>
                      <a:pt x="126" y="39"/>
                      <a:pt x="126" y="39"/>
                      <a:pt x="126" y="39"/>
                    </a:cubicBezTo>
                    <a:cubicBezTo>
                      <a:pt x="128" y="43"/>
                      <a:pt x="128" y="43"/>
                      <a:pt x="128" y="43"/>
                    </a:cubicBezTo>
                    <a:cubicBezTo>
                      <a:pt x="131" y="41"/>
                      <a:pt x="131" y="41"/>
                      <a:pt x="131" y="41"/>
                    </a:cubicBezTo>
                    <a:cubicBezTo>
                      <a:pt x="152" y="32"/>
                      <a:pt x="152" y="32"/>
                      <a:pt x="152" y="32"/>
                    </a:cubicBezTo>
                    <a:cubicBezTo>
                      <a:pt x="148" y="38"/>
                      <a:pt x="143" y="46"/>
                      <a:pt x="135" y="50"/>
                    </a:cubicBezTo>
                    <a:cubicBezTo>
                      <a:pt x="132" y="52"/>
                      <a:pt x="132" y="52"/>
                      <a:pt x="132" y="52"/>
                    </a:cubicBezTo>
                    <a:cubicBezTo>
                      <a:pt x="133" y="56"/>
                      <a:pt x="133" y="56"/>
                      <a:pt x="133" y="56"/>
                    </a:cubicBezTo>
                    <a:cubicBezTo>
                      <a:pt x="138" y="68"/>
                      <a:pt x="138" y="68"/>
                      <a:pt x="138" y="68"/>
                    </a:cubicBezTo>
                    <a:cubicBezTo>
                      <a:pt x="126" y="69"/>
                      <a:pt x="98" y="74"/>
                      <a:pt x="90" y="83"/>
                    </a:cubicBezTo>
                    <a:cubicBezTo>
                      <a:pt x="33" y="142"/>
                      <a:pt x="33" y="142"/>
                      <a:pt x="33" y="142"/>
                    </a:cubicBezTo>
                    <a:cubicBezTo>
                      <a:pt x="33" y="142"/>
                      <a:pt x="28" y="146"/>
                      <a:pt x="23" y="146"/>
                    </a:cubicBezTo>
                    <a:cubicBezTo>
                      <a:pt x="20" y="146"/>
                      <a:pt x="17" y="144"/>
                      <a:pt x="15" y="142"/>
                    </a:cubicBezTo>
                    <a:cubicBezTo>
                      <a:pt x="7" y="134"/>
                      <a:pt x="13" y="125"/>
                      <a:pt x="15" y="123"/>
                    </a:cubicBezTo>
                    <a:cubicBezTo>
                      <a:pt x="80" y="71"/>
                      <a:pt x="80" y="71"/>
                      <a:pt x="80" y="71"/>
                    </a:cubicBezTo>
                    <a:cubicBezTo>
                      <a:pt x="80" y="71"/>
                      <a:pt x="80" y="71"/>
                      <a:pt x="80" y="71"/>
                    </a:cubicBezTo>
                    <a:cubicBezTo>
                      <a:pt x="80" y="70"/>
                      <a:pt x="80" y="70"/>
                      <a:pt x="80" y="70"/>
                    </a:cubicBezTo>
                    <a:cubicBezTo>
                      <a:pt x="93" y="58"/>
                      <a:pt x="98" y="36"/>
                      <a:pt x="102" y="23"/>
                    </a:cubicBezTo>
                    <a:cubicBezTo>
                      <a:pt x="103" y="19"/>
                      <a:pt x="103" y="17"/>
                      <a:pt x="104" y="15"/>
                    </a:cubicBezTo>
                    <a:cubicBezTo>
                      <a:pt x="106" y="7"/>
                      <a:pt x="107" y="7"/>
                      <a:pt x="121" y="4"/>
                    </a:cubicBezTo>
                    <a:cubicBezTo>
                      <a:pt x="122" y="4"/>
                      <a:pt x="122" y="4"/>
                      <a:pt x="122" y="4"/>
                    </a:cubicBezTo>
                    <a:cubicBezTo>
                      <a:pt x="124" y="4"/>
                      <a:pt x="125" y="4"/>
                      <a:pt x="127" y="4"/>
                    </a:cubicBezTo>
                    <a:cubicBezTo>
                      <a:pt x="127" y="4"/>
                      <a:pt x="127" y="4"/>
                      <a:pt x="127" y="4"/>
                    </a:cubicBezTo>
                    <a:moveTo>
                      <a:pt x="24" y="142"/>
                    </a:moveTo>
                    <a:cubicBezTo>
                      <a:pt x="27" y="142"/>
                      <a:pt x="30" y="141"/>
                      <a:pt x="31" y="139"/>
                    </a:cubicBezTo>
                    <a:cubicBezTo>
                      <a:pt x="35" y="135"/>
                      <a:pt x="35" y="129"/>
                      <a:pt x="31" y="125"/>
                    </a:cubicBezTo>
                    <a:cubicBezTo>
                      <a:pt x="30" y="123"/>
                      <a:pt x="27" y="122"/>
                      <a:pt x="24" y="122"/>
                    </a:cubicBezTo>
                    <a:cubicBezTo>
                      <a:pt x="22" y="122"/>
                      <a:pt x="19" y="123"/>
                      <a:pt x="17" y="125"/>
                    </a:cubicBezTo>
                    <a:cubicBezTo>
                      <a:pt x="13" y="129"/>
                      <a:pt x="13" y="135"/>
                      <a:pt x="17" y="139"/>
                    </a:cubicBezTo>
                    <a:cubicBezTo>
                      <a:pt x="19" y="141"/>
                      <a:pt x="22" y="142"/>
                      <a:pt x="24" y="142"/>
                    </a:cubicBezTo>
                    <a:moveTo>
                      <a:pt x="127" y="0"/>
                    </a:moveTo>
                    <a:cubicBezTo>
                      <a:pt x="125" y="0"/>
                      <a:pt x="123" y="0"/>
                      <a:pt x="121" y="0"/>
                    </a:cubicBezTo>
                    <a:cubicBezTo>
                      <a:pt x="106" y="3"/>
                      <a:pt x="103" y="4"/>
                      <a:pt x="100" y="13"/>
                    </a:cubicBezTo>
                    <a:cubicBezTo>
                      <a:pt x="97" y="23"/>
                      <a:pt x="93" y="53"/>
                      <a:pt x="77" y="68"/>
                    </a:cubicBezTo>
                    <a:cubicBezTo>
                      <a:pt x="12" y="120"/>
                      <a:pt x="12" y="120"/>
                      <a:pt x="12" y="120"/>
                    </a:cubicBezTo>
                    <a:cubicBezTo>
                      <a:pt x="12" y="120"/>
                      <a:pt x="0" y="133"/>
                      <a:pt x="12" y="145"/>
                    </a:cubicBezTo>
                    <a:cubicBezTo>
                      <a:pt x="16" y="148"/>
                      <a:pt x="20" y="150"/>
                      <a:pt x="23" y="150"/>
                    </a:cubicBezTo>
                    <a:cubicBezTo>
                      <a:pt x="30" y="150"/>
                      <a:pt x="36" y="145"/>
                      <a:pt x="36" y="145"/>
                    </a:cubicBezTo>
                    <a:cubicBezTo>
                      <a:pt x="93" y="85"/>
                      <a:pt x="93" y="85"/>
                      <a:pt x="93" y="85"/>
                    </a:cubicBezTo>
                    <a:cubicBezTo>
                      <a:pt x="102" y="76"/>
                      <a:pt x="144" y="71"/>
                      <a:pt x="144" y="71"/>
                    </a:cubicBezTo>
                    <a:cubicBezTo>
                      <a:pt x="137" y="54"/>
                      <a:pt x="137" y="54"/>
                      <a:pt x="137" y="54"/>
                    </a:cubicBezTo>
                    <a:cubicBezTo>
                      <a:pt x="153" y="46"/>
                      <a:pt x="159" y="25"/>
                      <a:pt x="159" y="25"/>
                    </a:cubicBezTo>
                    <a:cubicBezTo>
                      <a:pt x="130" y="37"/>
                      <a:pt x="130" y="37"/>
                      <a:pt x="130" y="37"/>
                    </a:cubicBezTo>
                    <a:cubicBezTo>
                      <a:pt x="124" y="24"/>
                      <a:pt x="124" y="24"/>
                      <a:pt x="124" y="24"/>
                    </a:cubicBezTo>
                    <a:cubicBezTo>
                      <a:pt x="125" y="17"/>
                      <a:pt x="125" y="17"/>
                      <a:pt x="125" y="17"/>
                    </a:cubicBezTo>
                    <a:cubicBezTo>
                      <a:pt x="149" y="6"/>
                      <a:pt x="149" y="6"/>
                      <a:pt x="149" y="6"/>
                    </a:cubicBezTo>
                    <a:cubicBezTo>
                      <a:pt x="149" y="6"/>
                      <a:pt x="139" y="0"/>
                      <a:pt x="127" y="0"/>
                    </a:cubicBezTo>
                    <a:close/>
                    <a:moveTo>
                      <a:pt x="24" y="138"/>
                    </a:moveTo>
                    <a:cubicBezTo>
                      <a:pt x="23" y="138"/>
                      <a:pt x="21" y="138"/>
                      <a:pt x="20" y="136"/>
                    </a:cubicBezTo>
                    <a:cubicBezTo>
                      <a:pt x="17" y="134"/>
                      <a:pt x="17" y="130"/>
                      <a:pt x="20" y="128"/>
                    </a:cubicBezTo>
                    <a:cubicBezTo>
                      <a:pt x="21" y="127"/>
                      <a:pt x="23" y="126"/>
                      <a:pt x="24" y="126"/>
                    </a:cubicBezTo>
                    <a:cubicBezTo>
                      <a:pt x="26" y="126"/>
                      <a:pt x="27" y="127"/>
                      <a:pt x="29" y="128"/>
                    </a:cubicBezTo>
                    <a:cubicBezTo>
                      <a:pt x="31" y="130"/>
                      <a:pt x="31" y="134"/>
                      <a:pt x="29" y="136"/>
                    </a:cubicBezTo>
                    <a:cubicBezTo>
                      <a:pt x="27" y="138"/>
                      <a:pt x="26" y="138"/>
                      <a:pt x="24" y="138"/>
                    </a:cubicBez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5461322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Learning is also Fun!</a:t>
            </a:r>
            <a:endParaRPr lang="en-IN" sz="4000" dirty="0"/>
          </a:p>
        </p:txBody>
      </p:sp>
      <p:pic>
        <p:nvPicPr>
          <p:cNvPr id="2" name="Graphic 1" descr="Juggler with solid fill">
            <a:extLst>
              <a:ext uri="{FF2B5EF4-FFF2-40B4-BE49-F238E27FC236}">
                <a16:creationId xmlns:a16="http://schemas.microsoft.com/office/drawing/2014/main" id="{05221367-599F-F73C-4BD3-0C82C72014F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83676" y="2795529"/>
            <a:ext cx="1213691" cy="1213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066222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2285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is also Fun!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8</a:t>
            </a:fld>
            <a:endParaRPr lang="en-IN" dirty="0"/>
          </a:p>
        </p:txBody>
      </p:sp>
      <p:pic>
        <p:nvPicPr>
          <p:cNvPr id="2" name="Graphic 1" descr="Juggler with solid fill">
            <a:extLst>
              <a:ext uri="{FF2B5EF4-FFF2-40B4-BE49-F238E27FC236}">
                <a16:creationId xmlns:a16="http://schemas.microsoft.com/office/drawing/2014/main" id="{09B39B69-AA92-EAA5-718F-24380CF2465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19674" y="124674"/>
            <a:ext cx="1213691" cy="1213691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CC1343B-2E39-FEFF-8FF6-46822F18B432}"/>
              </a:ext>
            </a:extLst>
          </p:cNvPr>
          <p:cNvSpPr txBox="1">
            <a:spLocks/>
          </p:cNvSpPr>
          <p:nvPr/>
        </p:nvSpPr>
        <p:spPr>
          <a:xfrm>
            <a:off x="442195" y="1963818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Nitya was very fun and was very encouraging for everyone to share their opinions. The activities were fun and very interactive. Exciting, engaging, fun, with a lot of learning which made the sessions fun. The best advice she gave which stuck a chord with a lot of us was not to take oneself too seriously. 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5A873A1A-E63F-91AE-7D43-ED0F86870147}"/>
              </a:ext>
            </a:extLst>
          </p:cNvPr>
          <p:cNvSpPr txBox="1">
            <a:spLocks/>
          </p:cNvSpPr>
          <p:nvPr/>
        </p:nvSpPr>
        <p:spPr>
          <a:xfrm>
            <a:off x="6400800" y="1963818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6" name="Picture 5" descr="A group of people posing for a photo&#10;&#10;Description automatically generated">
            <a:extLst>
              <a:ext uri="{FF2B5EF4-FFF2-40B4-BE49-F238E27FC236}">
                <a16:creationId xmlns:a16="http://schemas.microsoft.com/office/drawing/2014/main" id="{B8110CF4-5677-AC63-2CC4-1494457ACB8E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6395" y="2348563"/>
            <a:ext cx="4443663" cy="33327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883876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43480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Summary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9</a:t>
            </a:fld>
            <a:endParaRPr lang="en-IN" dirty="0"/>
          </a:p>
        </p:txBody>
      </p:sp>
      <p:pic>
        <p:nvPicPr>
          <p:cNvPr id="5" name="Graphic 4" descr="Future with solid fill">
            <a:extLst>
              <a:ext uri="{FF2B5EF4-FFF2-40B4-BE49-F238E27FC236}">
                <a16:creationId xmlns:a16="http://schemas.microsoft.com/office/drawing/2014/main" id="{4C05FBB4-1D96-ED51-AB17-618E4D4052D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24305" y="129305"/>
            <a:ext cx="1204430" cy="1204430"/>
          </a:xfrm>
          <a:prstGeom prst="rect">
            <a:avLst/>
          </a:prstGeom>
        </p:spPr>
      </p:pic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AC2F88D2-81D4-FAD4-568E-A3F495B06411}"/>
              </a:ext>
            </a:extLst>
          </p:cNvPr>
          <p:cNvSpPr txBox="1">
            <a:spLocks/>
          </p:cNvSpPr>
          <p:nvPr/>
        </p:nvSpPr>
        <p:spPr>
          <a:xfrm>
            <a:off x="812799" y="1624200"/>
            <a:ext cx="9804401" cy="4010139"/>
          </a:xfrm>
          <a:prstGeom prst="rect">
            <a:avLst/>
          </a:prstGeom>
        </p:spPr>
        <p:txBody>
          <a:bodyPr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2800" dirty="0"/>
              <a:t>Learned soft skills, BA &amp; agile</a:t>
            </a:r>
          </a:p>
          <a:p>
            <a:pPr>
              <a:lnSpc>
                <a:spcPct val="100000"/>
              </a:lnSpc>
            </a:pPr>
            <a:endParaRPr lang="en-US" sz="2800" dirty="0"/>
          </a:p>
          <a:p>
            <a:pPr>
              <a:lnSpc>
                <a:spcPct val="100000"/>
              </a:lnSpc>
            </a:pPr>
            <a:r>
              <a:rPr lang="en-US" sz="2800" dirty="0"/>
              <a:t>Will revise DBMS learned from college</a:t>
            </a:r>
          </a:p>
          <a:p>
            <a:pPr>
              <a:lnSpc>
                <a:spcPct val="100000"/>
              </a:lnSpc>
            </a:pPr>
            <a:endParaRPr lang="en-US" sz="2800" dirty="0"/>
          </a:p>
          <a:p>
            <a:pPr>
              <a:lnSpc>
                <a:spcPct val="100000"/>
              </a:lnSpc>
            </a:pPr>
            <a:r>
              <a:rPr lang="en-US" sz="2800" dirty="0"/>
              <a:t>Software setup is needed.</a:t>
            </a:r>
          </a:p>
          <a:p>
            <a:pPr marL="457200" indent="-457200">
              <a:lnSpc>
                <a:spcPct val="100000"/>
              </a:lnSpc>
            </a:pP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38658501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95DA231-959C-B3E0-7DA4-876736A38B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24474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95DA231-959C-B3E0-7DA4-876736A38B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6243872-C66F-EDEB-B185-CE420E5D68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9814" y="273377"/>
            <a:ext cx="10441782" cy="631596"/>
          </a:xfrm>
          <a:solidFill>
            <a:schemeClr val="accent1"/>
          </a:solidFill>
        </p:spPr>
        <p:txBody>
          <a:bodyPr vert="horz" anchor="ctr">
            <a:normAutofit/>
          </a:bodyPr>
          <a:lstStyle/>
          <a:p>
            <a:pPr algn="ctr"/>
            <a:r>
              <a:rPr lang="en-US" sz="3600" b="1" dirty="0">
                <a:ln w="0"/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About Me</a:t>
            </a:r>
            <a:endParaRPr lang="en-IN" sz="3600" b="1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6C725D5-7581-AA70-6229-D8DC020A1CF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</a:t>
            </a:fld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119CB9E-042F-11E8-F683-654626D307B3}"/>
              </a:ext>
            </a:extLst>
          </p:cNvPr>
          <p:cNvSpPr txBox="1">
            <a:spLocks/>
          </p:cNvSpPr>
          <p:nvPr/>
        </p:nvSpPr>
        <p:spPr>
          <a:xfrm>
            <a:off x="442195" y="1831738"/>
            <a:ext cx="5653806" cy="407624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/>
              <a:t>“Luck is just probability taken personally”</a:t>
            </a:r>
          </a:p>
          <a:p>
            <a:pPr marL="0" indent="0" algn="ctr">
              <a:buFont typeface="Arial" panose="020B0604020202020204" pitchFamily="34" charset="0"/>
              <a:buNone/>
            </a:pPr>
            <a:endParaRPr lang="en-US" sz="2000" dirty="0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CE0DDF5F-FE47-F9A2-FE84-53B63DFF494D}"/>
              </a:ext>
            </a:extLst>
          </p:cNvPr>
          <p:cNvSpPr txBox="1">
            <a:spLocks/>
          </p:cNvSpPr>
          <p:nvPr/>
        </p:nvSpPr>
        <p:spPr>
          <a:xfrm>
            <a:off x="6400800" y="1831738"/>
            <a:ext cx="5350706" cy="407624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1026" name="Picture 2" descr="Gilmore Girls">
            <a:extLst>
              <a:ext uri="{FF2B5EF4-FFF2-40B4-BE49-F238E27FC236}">
                <a16:creationId xmlns:a16="http://schemas.microsoft.com/office/drawing/2014/main" id="{1F905FB2-4DB6-0D5A-9499-48E1E900FB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0180" y="2677025"/>
            <a:ext cx="4621416" cy="25879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6783218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2BCC5FF-5A86-457C-9D70-8722A7CA3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5642" y="2673043"/>
            <a:ext cx="10525125" cy="923330"/>
          </a:xfrm>
        </p:spPr>
        <p:txBody>
          <a:bodyPr/>
          <a:lstStyle/>
          <a:p>
            <a:pPr algn="ctr"/>
            <a:r>
              <a:rPr lang="en-US" sz="6000" dirty="0"/>
              <a:t>Thank</a:t>
            </a:r>
            <a:r>
              <a:rPr lang="en-US" sz="3200" dirty="0"/>
              <a:t> </a:t>
            </a:r>
            <a:r>
              <a:rPr lang="en-US" sz="5400" dirty="0"/>
              <a:t>You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8059758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My learnings from this week!</a:t>
            </a:r>
            <a:endParaRPr lang="en-IN" sz="4000" dirty="0"/>
          </a:p>
        </p:txBody>
      </p:sp>
      <p:pic>
        <p:nvPicPr>
          <p:cNvPr id="2" name="Graphic 1" descr="Idea outline">
            <a:extLst>
              <a:ext uri="{FF2B5EF4-FFF2-40B4-BE49-F238E27FC236}">
                <a16:creationId xmlns:a16="http://schemas.microsoft.com/office/drawing/2014/main" id="{5ED103A7-D95B-E42C-6356-53269A110E8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27744" y="2869895"/>
            <a:ext cx="1090788" cy="1090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27898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1373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4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Soft Skills Day 1: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  <a:p>
            <a:r>
              <a:rPr lang="en-US" sz="2000" dirty="0"/>
              <a:t>Types of performers(CART analogy)</a:t>
            </a:r>
          </a:p>
          <a:p>
            <a:r>
              <a:rPr lang="en-US" sz="2000" dirty="0"/>
              <a:t>Neuroplasticity</a:t>
            </a:r>
          </a:p>
          <a:p>
            <a:r>
              <a:rPr lang="en-US" sz="2000" dirty="0"/>
              <a:t>POWER technique</a:t>
            </a:r>
          </a:p>
          <a:p>
            <a:r>
              <a:rPr lang="en-US" sz="2000" dirty="0"/>
              <a:t>Email etiquettes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1026" name="Picture 2" descr="The Cart - The 4 Types of Team Members You Can Hire">
            <a:extLst>
              <a:ext uri="{FF2B5EF4-FFF2-40B4-BE49-F238E27FC236}">
                <a16:creationId xmlns:a16="http://schemas.microsoft.com/office/drawing/2014/main" id="{93DD738D-E47A-4F2A-CED2-73EBBBA6CD5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6079" y="2147637"/>
            <a:ext cx="4669857" cy="35023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58814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261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2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5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Soft Skills Day 2 and 3: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  <a:p>
            <a:r>
              <a:rPr lang="en-US" sz="2000" dirty="0"/>
              <a:t>Attitude and Mindset</a:t>
            </a:r>
          </a:p>
          <a:p>
            <a:r>
              <a:rPr lang="en-US" sz="2000" dirty="0"/>
              <a:t>Stakeholder</a:t>
            </a:r>
          </a:p>
          <a:p>
            <a:r>
              <a:rPr lang="en-US" sz="2000" dirty="0"/>
              <a:t>Interest Power Grid</a:t>
            </a:r>
          </a:p>
          <a:p>
            <a:r>
              <a:rPr lang="en-US" sz="2000" dirty="0"/>
              <a:t>Self Orientation</a:t>
            </a:r>
          </a:p>
          <a:p>
            <a:r>
              <a:rPr lang="en-US" sz="2000" dirty="0"/>
              <a:t>Tucker Model</a:t>
            </a:r>
          </a:p>
          <a:p>
            <a:r>
              <a:rPr lang="en-US" sz="2000" dirty="0"/>
              <a:t>Presentation skills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5" name="Picture 4" descr="A drawing of a bear on a carpet&#10;&#10;Description automatically generated">
            <a:extLst>
              <a:ext uri="{FF2B5EF4-FFF2-40B4-BE49-F238E27FC236}">
                <a16:creationId xmlns:a16="http://schemas.microsoft.com/office/drawing/2014/main" id="{30395765-C140-8B1E-62DB-76415A63B70E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704" b="9276"/>
          <a:stretch/>
        </p:blipFill>
        <p:spPr>
          <a:xfrm rot="5400000">
            <a:off x="7389229" y="1657164"/>
            <a:ext cx="3317033" cy="4600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11127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3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6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Technical Bootcamp (Day 3)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  <a:p>
            <a:r>
              <a:rPr lang="en-US" sz="2000" dirty="0"/>
              <a:t>Introduction to Business Analysis</a:t>
            </a:r>
          </a:p>
          <a:p>
            <a:r>
              <a:rPr lang="en-US" sz="2000" dirty="0"/>
              <a:t>SDLC (Software Development Life Cycle)</a:t>
            </a:r>
          </a:p>
          <a:p>
            <a:r>
              <a:rPr lang="en-US" sz="2000" dirty="0"/>
              <a:t>Requirement Analysis</a:t>
            </a:r>
          </a:p>
          <a:p>
            <a:r>
              <a:rPr lang="en-US" sz="2000" dirty="0"/>
              <a:t>Requirement Elicitation</a:t>
            </a:r>
          </a:p>
          <a:p>
            <a:r>
              <a:rPr lang="en-US" sz="2000" dirty="0"/>
              <a:t>Requirement modelling</a:t>
            </a:r>
          </a:p>
          <a:p>
            <a:r>
              <a:rPr lang="en-US" sz="2000" dirty="0"/>
              <a:t>Requirement Management Techniques (Work Breakdown, Gantt Chart, Critical Path Method, Waterfall method, Kanban, Scrum)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3078" name="Picture 6" descr="Understanding the Software Development Life Cycle | Datarob">
            <a:extLst>
              <a:ext uri="{FF2B5EF4-FFF2-40B4-BE49-F238E27FC236}">
                <a16:creationId xmlns:a16="http://schemas.microsoft.com/office/drawing/2014/main" id="{1B12EC4B-5486-E215-6B17-02C5842049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4429" y="2147390"/>
            <a:ext cx="3503445" cy="35034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3886509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Relevance of learnings for my organization</a:t>
            </a:r>
            <a:endParaRPr lang="en-IN" sz="4000" dirty="0"/>
          </a:p>
        </p:txBody>
      </p:sp>
      <p:pic>
        <p:nvPicPr>
          <p:cNvPr id="4" name="Graphic 3" descr="User network outline">
            <a:extLst>
              <a:ext uri="{FF2B5EF4-FFF2-40B4-BE49-F238E27FC236}">
                <a16:creationId xmlns:a16="http://schemas.microsoft.com/office/drawing/2014/main" id="{7164DAAD-2874-8D6F-8FCF-5053DEE24E3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94692" y="2838679"/>
            <a:ext cx="1180641" cy="1180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29491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0068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8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/>
              <a:t>The soft skills bootcamp day 1 covered essential topic like CART analogy which enhances teamwork and adaptability. The activities also helped foster effective communication methods. 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/>
              <a:t>Necessary email etiquettes were covered which will help one to be respectful while talking to anyone and allow workers be more productive. It taught us effective methods of communication.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pic>
        <p:nvPicPr>
          <p:cNvPr id="4098" name="Picture 2" descr="The Importance and Benefits of Teamwork in the Office - MaxiDent Software I  Dental Management Software">
            <a:extLst>
              <a:ext uri="{FF2B5EF4-FFF2-40B4-BE49-F238E27FC236}">
                <a16:creationId xmlns:a16="http://schemas.microsoft.com/office/drawing/2014/main" id="{1F7D794C-D50C-DE19-A701-2805669BF3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0247" y="2358189"/>
            <a:ext cx="4644940" cy="3117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7151237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6299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2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9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/>
              <a:t>Shell implements effective communication and networking methods by methods like GTKYs. The bootcamp emphasized having a good attitude and positive work environment. Shell follows an open culture, and every worker is friendly with the other which shows a positive mindset.</a:t>
            </a:r>
          </a:p>
          <a:p>
            <a:pPr marL="0" indent="0">
              <a:buNone/>
            </a:pPr>
            <a:r>
              <a:rPr lang="en-US" sz="2000" dirty="0"/>
              <a:t>Stakeholder management helped understand the internal and external stakeholders in Shell.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pic>
        <p:nvPicPr>
          <p:cNvPr id="2050" name="Picture 2" descr="Tuckman's Five Stages of Team Development. Still Relevant? | Alun Gathergood">
            <a:extLst>
              <a:ext uri="{FF2B5EF4-FFF2-40B4-BE49-F238E27FC236}">
                <a16:creationId xmlns:a16="http://schemas.microsoft.com/office/drawing/2014/main" id="{395BCA68-25DF-9236-FA21-C854085921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78254" y="2203570"/>
            <a:ext cx="3395795" cy="33910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798056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SCLIENT" val="True"/>
  <p:tag name="TEMPLATECREATED" val="2022-01-18 01:04 PM"/>
  <p:tag name="ICONENCLOSURE" val="False"/>
  <p:tag name="TEMPLATELASTEDITED" val="2022-01-18 06:01 PM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24">
      <a:dk1>
        <a:sysClr val="windowText" lastClr="000000"/>
      </a:dk1>
      <a:lt1>
        <a:sysClr val="window" lastClr="FFFFFF"/>
      </a:lt1>
      <a:dk2>
        <a:srgbClr val="2E4552"/>
      </a:dk2>
      <a:lt2>
        <a:srgbClr val="E7E6E6"/>
      </a:lt2>
      <a:accent1>
        <a:srgbClr val="FF6600"/>
      </a:accent1>
      <a:accent2>
        <a:srgbClr val="F78E47"/>
      </a:accent2>
      <a:accent3>
        <a:srgbClr val="FEA655"/>
      </a:accent3>
      <a:accent4>
        <a:srgbClr val="F8CBAD"/>
      </a:accent4>
      <a:accent5>
        <a:srgbClr val="767171"/>
      </a:accent5>
      <a:accent6>
        <a:srgbClr val="404040"/>
      </a:accent6>
      <a:hlink>
        <a:srgbClr val="FF6600"/>
      </a:hlink>
      <a:folHlink>
        <a:srgbClr val="909473"/>
      </a:folHlink>
    </a:clrScheme>
    <a:fontScheme name="Custom 3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BR_Jan 22_v1" id="{81372DDE-F7B0-48FF-9B2F-B6CAFBCFBF6C}" vid="{94CDC6AE-3EAC-4308-B00B-01C302E9C12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d64320fb-f9a3-4131-8206-9d18da17abe9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F23033ADD2CC44581BA464AC24AB4CD" ma:contentTypeVersion="18" ma:contentTypeDescription="Create a new document." ma:contentTypeScope="" ma:versionID="bfa97c90a71db97c80c59ca5c0ffda22">
  <xsd:schema xmlns:xsd="http://www.w3.org/2001/XMLSchema" xmlns:xs="http://www.w3.org/2001/XMLSchema" xmlns:p="http://schemas.microsoft.com/office/2006/metadata/properties" xmlns:ns3="d64320fb-f9a3-4131-8206-9d18da17abe9" xmlns:ns4="489eda54-cdc8-4a48-94a2-8f9cf8024289" targetNamespace="http://schemas.microsoft.com/office/2006/metadata/properties" ma:root="true" ma:fieldsID="be474ca7a15bf1e8a5e4b2eb5ea5d141" ns3:_="" ns4:_="">
    <xsd:import namespace="d64320fb-f9a3-4131-8206-9d18da17abe9"/>
    <xsd:import namespace="489eda54-cdc8-4a48-94a2-8f9cf802428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LengthInSeconds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3:_activity" minOccurs="0"/>
                <xsd:element ref="ns3:MediaServiceObjectDetectorVersions" minOccurs="0"/>
                <xsd:element ref="ns3:MediaServiceLocation" minOccurs="0"/>
                <xsd:element ref="ns3:MediaServiceSystemTag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64320fb-f9a3-4131-8206-9d18da17abe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description="" ma:hidden="true" ma:indexed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_activity" ma:index="21" nillable="true" ma:displayName="_activity" ma:hidden="true" ma:internalName="_activity">
      <xsd:simpleType>
        <xsd:restriction base="dms:Note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3" nillable="true" ma:displayName="Location" ma:indexed="true" ma:internalName="MediaServiceLocation" ma:readOnly="true">
      <xsd:simpleType>
        <xsd:restriction base="dms:Text"/>
      </xsd:simpleType>
    </xsd:element>
    <xsd:element name="MediaServiceSystemTags" ma:index="24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9eda54-cdc8-4a48-94a2-8f9cf8024289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DADF44A-8650-472F-B2D9-50E27F0769F7}">
  <ds:schemaRefs>
    <ds:schemaRef ds:uri="http://purl.org/dc/terms/"/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d64320fb-f9a3-4131-8206-9d18da17abe9"/>
    <ds:schemaRef ds:uri="http://purl.org/dc/dcmitype/"/>
    <ds:schemaRef ds:uri="http://schemas.microsoft.com/office/infopath/2007/PartnerControls"/>
    <ds:schemaRef ds:uri="489eda54-cdc8-4a48-94a2-8f9cf8024289"/>
    <ds:schemaRef ds:uri="http://schemas.microsoft.com/office/2006/metadata/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911617EF-9A33-49DD-BF18-3F75C7B3CC2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12B7AD5-CBD7-462B-BC8B-1E0D74017F5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64320fb-f9a3-4131-8206-9d18da17abe9"/>
    <ds:schemaRef ds:uri="489eda54-cdc8-4a48-94a2-8f9cf802428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d0cb1e24-a0e2-4a4c-9340-733297c9cd7c}" enabled="1" method="Privileged" siteId="{db1e96a8-a3da-442a-930b-235cac24cd5c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895</TotalTime>
  <Words>667</Words>
  <Application>Microsoft Office PowerPoint</Application>
  <PresentationFormat>Widescreen</PresentationFormat>
  <Paragraphs>88</Paragraphs>
  <Slides>2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4" baseType="lpstr">
      <vt:lpstr>Arial</vt:lpstr>
      <vt:lpstr>Calibri</vt:lpstr>
      <vt:lpstr>Office Theme</vt:lpstr>
      <vt:lpstr>think-cell Slide</vt:lpstr>
      <vt:lpstr>PowerPoint Presentation</vt:lpstr>
      <vt:lpstr>About Me</vt:lpstr>
      <vt:lpstr>PowerPoint Presentation</vt:lpstr>
      <vt:lpstr>Learning 1 | My takeaways</vt:lpstr>
      <vt:lpstr>Learning 2 | My takeaways</vt:lpstr>
      <vt:lpstr>Learning 3 | My takeaways</vt:lpstr>
      <vt:lpstr>PowerPoint Presentation</vt:lpstr>
      <vt:lpstr>Learning 1 | Relevance for Shell</vt:lpstr>
      <vt:lpstr>Learning 2 | Relevance for Shell</vt:lpstr>
      <vt:lpstr>Learning 3 | Relevance for Shell</vt:lpstr>
      <vt:lpstr>PowerPoint Presentation</vt:lpstr>
      <vt:lpstr>Challenge faced while implementing Learning 1</vt:lpstr>
      <vt:lpstr>Challenge faced while implementing Learning 2</vt:lpstr>
      <vt:lpstr>Challenge faced while implementing Learning 3</vt:lpstr>
      <vt:lpstr>PowerPoint Presentation</vt:lpstr>
      <vt:lpstr>My Action Plan for this Week</vt:lpstr>
      <vt:lpstr>PowerPoint Presentation</vt:lpstr>
      <vt:lpstr>Learning is also Fun!</vt:lpstr>
      <vt:lpstr>Summary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urugesh Chandran</dc:creator>
  <cp:lastModifiedBy>Samant, Vainavi SBOBNG-PTIY/BFB</cp:lastModifiedBy>
  <cp:revision>504</cp:revision>
  <dcterms:created xsi:type="dcterms:W3CDTF">2022-01-18T12:35:56Z</dcterms:created>
  <dcterms:modified xsi:type="dcterms:W3CDTF">2024-08-30T08:56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Created">
    <vt:lpwstr>2022-01-18 01:04 PM</vt:lpwstr>
  </property>
  <property fmtid="{D5CDD505-2E9C-101B-9397-08002B2CF9AE}" pid="3" name="TemplateLastEdited">
    <vt:lpwstr>2022-01-18 06:01 PM</vt:lpwstr>
  </property>
  <property fmtid="{D5CDD505-2E9C-101B-9397-08002B2CF9AE}" pid="4" name="ContentTypeId">
    <vt:lpwstr>0x010100BF23033ADD2CC44581BA464AC24AB4CD</vt:lpwstr>
  </property>
</Properties>
</file>